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80" r:id="rId1"/>
    <p:sldMasterId id="2147483820" r:id="rId2"/>
  </p:sldMasterIdLst>
  <p:notesMasterIdLst>
    <p:notesMasterId r:id="rId4"/>
  </p:notesMasterIdLst>
  <p:handoutMasterIdLst>
    <p:handoutMasterId r:id="rId5"/>
  </p:handoutMasterIdLst>
  <p:sldIdLst>
    <p:sldId id="2548" r:id="rId3"/>
  </p:sldIdLst>
  <p:sldSz cx="9144000" cy="6858000" type="screen4x3"/>
  <p:notesSz cx="6797675" cy="9872663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0AF"/>
    <a:srgbClr val="CDE4D2"/>
    <a:srgbClr val="9BC9A5"/>
    <a:srgbClr val="009A44"/>
    <a:srgbClr val="FFFFFF"/>
    <a:srgbClr val="00A3E0"/>
    <a:srgbClr val="012169"/>
    <a:srgbClr val="D0CECE"/>
    <a:srgbClr val="C0000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55" autoAdjust="0"/>
    <p:restoredTop sz="94837" autoAdjust="0"/>
  </p:normalViewPr>
  <p:slideViewPr>
    <p:cSldViewPr snapToGrid="0">
      <p:cViewPr varScale="1">
        <p:scale>
          <a:sx n="67" d="100"/>
          <a:sy n="67" d="100"/>
        </p:scale>
        <p:origin x="-1133" y="-91"/>
      </p:cViewPr>
      <p:guideLst>
        <p:guide orient="horz" pos="216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-3067"/>
    </p:cViewPr>
  </p:sorterViewPr>
  <p:notesViewPr>
    <p:cSldViewPr snapToGrid="0">
      <p:cViewPr varScale="1">
        <p:scale>
          <a:sx n="48" d="100"/>
          <a:sy n="48" d="100"/>
        </p:scale>
        <p:origin x="2940" y="3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CBAEF7-3FE2-46FE-9516-7F987AC31D03}" type="datetimeFigureOut">
              <a:rPr lang="en-US" smtClean="0"/>
              <a:t>10/1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CC94CE-9088-48C6-A3FA-4711EE2879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811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46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245" y="1"/>
            <a:ext cx="2945955" cy="4946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832B5E-35F9-4077-BF98-1993FED55FAA}" type="datetimeFigureOut">
              <a:rPr lang="en-US" smtClean="0"/>
              <a:t>10/19/2020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063" y="4751873"/>
            <a:ext cx="5437550" cy="388670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378051"/>
            <a:ext cx="2945955" cy="4946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245" y="9378051"/>
            <a:ext cx="2945955" cy="4946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5A0A4A-565D-4F20-B78F-DA51125CFE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04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A0A4A-565D-4F20-B78F-DA51125CFE2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159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cover-Black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r>
              <a:rPr lang="zh-CN" altLang="en-US" noProof="0" dirty="0"/>
              <a:t>按一下圖示添加圖片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n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點擊輸入演示文稿標題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點擊輸入演示文稿副標題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點擊輸入作者，日期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16" y="378000"/>
            <a:ext cx="1623600" cy="30925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7657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861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-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/>
              <a:t>點擊輸入副標題</a:t>
            </a:r>
            <a:endParaRPr lang="en-US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zh-CN" altLang="en-US" noProof="0" dirty="0" smtClean="0"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 dirty="0"/>
              <a:t>點擊輸入標題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613456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-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zh-CN" altLang="en-US" noProof="0" dirty="0" smtClean="0"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/>
              <a:t>點擊輸入標題</a:t>
            </a:r>
            <a:endParaRPr lang="zh-CN" alt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 dirty="0"/>
              <a:t>點擊輸入副標題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400"/>
            </a:lvl1pPr>
            <a:lvl2pPr>
              <a:tabLst>
                <a:tab pos="5029200" algn="r"/>
              </a:tabLst>
              <a:defRPr sz="1400"/>
            </a:lvl2pPr>
            <a:lvl3pPr>
              <a:tabLst>
                <a:tab pos="5029200" algn="r"/>
              </a:tabLst>
              <a:defRPr sz="1400"/>
            </a:lvl3pPr>
            <a:lvl4pPr>
              <a:tabLst>
                <a:tab pos="5029200" algn="r"/>
              </a:tabLst>
              <a:defRPr sz="1400"/>
            </a:lvl4pPr>
            <a:lvl5pPr>
              <a:tabLst>
                <a:tab pos="5029200" algn="r"/>
              </a:tabLst>
              <a:defRPr sz="1400" baseline="0"/>
            </a:lvl5pPr>
          </a:lstStyle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400"/>
            </a:lvl1pPr>
            <a:lvl2pPr>
              <a:tabLst>
                <a:tab pos="5029200" algn="r"/>
              </a:tabLst>
              <a:defRPr sz="1400"/>
            </a:lvl2pPr>
            <a:lvl3pPr>
              <a:tabLst>
                <a:tab pos="5029200" algn="r"/>
              </a:tabLst>
              <a:defRPr sz="1400"/>
            </a:lvl3pPr>
            <a:lvl4pPr>
              <a:tabLst>
                <a:tab pos="5029200" algn="r"/>
              </a:tabLst>
              <a:defRPr sz="1400"/>
            </a:lvl4pPr>
            <a:lvl5pPr>
              <a:tabLst>
                <a:tab pos="5029200" algn="r"/>
              </a:tabLst>
              <a:defRPr sz="1400" baseline="0"/>
            </a:lvl5pPr>
          </a:lstStyle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065318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-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zh-CN" altLang="en-US" noProof="0" dirty="0" smtClean="0"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/>
              <a:t>點擊輸入標題</a:t>
            </a:r>
            <a:endParaRPr lang="zh-CN" alt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zh-CN" altLang="en-US" noProof="0" dirty="0"/>
              <a:t>點擊輸入引言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400"/>
            </a:lvl1pPr>
            <a:lvl2pPr>
              <a:tabLst>
                <a:tab pos="5029200" algn="r"/>
              </a:tabLst>
              <a:defRPr sz="1400"/>
            </a:lvl2pPr>
            <a:lvl3pPr>
              <a:tabLst>
                <a:tab pos="5029200" algn="r"/>
              </a:tabLst>
              <a:defRPr sz="1400"/>
            </a:lvl3pPr>
            <a:lvl4pPr>
              <a:tabLst>
                <a:tab pos="5029200" algn="r"/>
              </a:tabLst>
              <a:defRPr sz="1400"/>
            </a:lvl4pPr>
            <a:lvl5pPr>
              <a:tabLst>
                <a:tab pos="5029200" algn="r"/>
              </a:tabLst>
              <a:defRPr sz="1400" baseline="0"/>
            </a:lvl5pPr>
          </a:lstStyle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rgbClr val="575757"/>
                </a:solidFill>
              </a:defRPr>
            </a:lvl1pPr>
          </a:lstStyle>
          <a:p>
            <a:pPr lvl="0"/>
            <a:r>
              <a:rPr lang="zh-CN" altLang="en-US" noProof="0"/>
              <a:t>點擊輸入副標題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547017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latin typeface="+mn-lt"/>
                <a:ea typeface="+mn-ea"/>
              </a:defRPr>
            </a:lvl1pPr>
          </a:lstStyle>
          <a:p>
            <a:pPr lvl="0"/>
            <a:r>
              <a:rPr lang="zh-CN" altLang="en-US" noProof="0" dirty="0"/>
              <a:t>點擊輸入內容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900">
                <a:latin typeface="+mn-lt"/>
                <a:ea typeface="+mn-ea"/>
              </a:defRPr>
            </a:lvl1pPr>
          </a:lstStyle>
          <a:p>
            <a:r>
              <a:rPr lang="zh-CN" altLang="en-US" sz="900" noProof="0" dirty="0"/>
              <a:t>點擊添加贊助商標識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28137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>
                <a:latin typeface="+mn-lt"/>
                <a:ea typeface="+mn-ea"/>
              </a:defRPr>
            </a:lvl1pPr>
          </a:lstStyle>
          <a:p>
            <a:pPr lvl="0"/>
            <a:r>
              <a:rPr lang="zh-CN" altLang="en-US" noProof="0" dirty="0"/>
              <a:t>點擊輸入內容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7164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160726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650" dirty="0">
                <a:solidFill>
                  <a:schemeClr val="bg1"/>
                </a:solidFill>
                <a:ea typeface="Arial Unicode MS" panose="020B0604020202020204" pitchFamily="34" charset="-122"/>
                <a:cs typeface="Arial Unicode MS" panose="020B0604020202020204" pitchFamily="34" charset="-122"/>
              </a:rPr>
              <a:t>© 2017</a:t>
            </a:r>
            <a:r>
              <a:rPr lang="zh-CN" altLang="en-US" sz="65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 Unicode MS" panose="020B0604020202020204" pitchFamily="34" charset="-122"/>
              </a:rPr>
              <a:t>。欲瞭解更多資訊，請聯繫德勤中國。</a:t>
            </a:r>
            <a:endParaRPr lang="en-US" sz="650" dirty="0">
              <a:solidFill>
                <a:schemeClr val="bg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468" y="3126600"/>
            <a:ext cx="4833064" cy="6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636931"/>
      </p:ext>
    </p:extLst>
  </p:cSld>
  <p:clrMapOvr>
    <a:masterClrMapping/>
  </p:clrMapOvr>
  <p:transition>
    <p:fade/>
  </p:transition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339" y="3126600"/>
            <a:ext cx="4847321" cy="6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615862"/>
      </p:ext>
    </p:extLst>
  </p:cSld>
  <p:clrMapOvr>
    <a:masterClrMapping/>
  </p:clrMapOvr>
  <p:transition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60726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9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650" dirty="0">
                <a:solidFill>
                  <a:schemeClr val="bg1"/>
                </a:solidFill>
                <a:ea typeface="Arial Unicode MS" panose="020B0604020202020204" pitchFamily="34" charset="-122"/>
                <a:cs typeface="Arial Unicode MS" panose="020B0604020202020204" pitchFamily="34" charset="-122"/>
              </a:rPr>
              <a:t>© 2017</a:t>
            </a:r>
            <a:r>
              <a:rPr lang="zh-CN" altLang="en-US" sz="65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Arial Unicode MS" panose="020B0604020202020204" pitchFamily="34" charset="-122"/>
              </a:rPr>
              <a:t>。欲瞭解更多資訊，請聯繫德勤中國。</a:t>
            </a:r>
            <a:endParaRPr lang="en-US" sz="650" dirty="0">
              <a:solidFill>
                <a:schemeClr val="bg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93137252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7982914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cover-Black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点击输入演示文稿标题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点击输入演示文稿副标题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16" y="378000"/>
            <a:ext cx="1623600" cy="30925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7657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792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cover-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</a:defRPr>
            </a:lvl1pPr>
          </a:lstStyle>
          <a:p>
            <a:r>
              <a:rPr lang="zh-CN" altLang="en-US" noProof="0" dirty="0"/>
              <a:t>单击图标添加图片</a:t>
            </a:r>
            <a:endParaRPr lang="en-US" noProof="0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点击输入演示文稿标题</a:t>
            </a:r>
            <a:endParaRPr lang="en-US" noProof="0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点击输入演示文稿副标题</a:t>
            </a:r>
            <a:endParaRPr lang="en-US" noProof="0" dirty="0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458605862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cover-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</a:defRPr>
            </a:lvl1pPr>
          </a:lstStyle>
          <a:p>
            <a:r>
              <a:rPr lang="zh-CN" altLang="en-US" noProof="0" dirty="0"/>
              <a:t>按一下圖示添加圖片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76238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pPr lvl="0"/>
            <a:r>
              <a:rPr lang="zh-CN" altLang="en-US" noProof="0" dirty="0"/>
              <a:t>點擊輸入演示文稿標題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j-lt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點擊輸入演示文稿副標題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點擊輸入作者，日期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889991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cover-Circle Black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点击输入演示文稿标题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点击输入演示文稿副标题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16" y="378000"/>
            <a:ext cx="1623600" cy="30925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7657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81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cover-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点击输入演示文稿标题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点击输入演示文稿副标题</a:t>
            </a:r>
            <a:endParaRPr lang="en-US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788705210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Divider-dark green">
    <p:bg bwMode="gray"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CN" altLang="en-US" noProof="0" dirty="0"/>
              <a:t>点击输入分隔幻灯片标题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noProof="0" dirty="0"/>
              <a:t>点击输入分隔幻灯片副标题</a:t>
            </a:r>
          </a:p>
        </p:txBody>
      </p:sp>
      <p:sp>
        <p:nvSpPr>
          <p:cNvPr id="11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+mn-lt"/>
                <a:ea typeface="华文细黑" panose="02010600040101010101" pitchFamily="2" charset="-122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  <a:latin typeface="+mn-lt"/>
              <a:ea typeface="华文细黑" panose="02010600040101010101" pitchFamily="2" charset="-122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bg1"/>
                </a:solidFill>
                <a:latin typeface="+mn-lt"/>
                <a:ea typeface="+mn-ea"/>
              </a:rPr>
              <a:t>© </a:t>
            </a:r>
            <a:r>
              <a:rPr lang="fr-FR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2019</a:t>
            </a:r>
            <a:r>
              <a:rPr lang="zh-CN" altLang="en-US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。</a:t>
            </a:r>
            <a:r>
              <a:rPr lang="zh-CN" altLang="en-US" sz="650" noProof="0" dirty="0">
                <a:solidFill>
                  <a:schemeClr val="bg1"/>
                </a:solidFill>
                <a:latin typeface="+mn-lt"/>
                <a:ea typeface="+mn-ea"/>
              </a:rPr>
              <a:t>欲瞭解更多資訊，請聯繫德勤中國</a:t>
            </a:r>
            <a:endParaRPr lang="en-US" sz="65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04230827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-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</p:spPr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zh-CN" altLang="en-US" noProof="0" dirty="0"/>
              <a:t>点击输入标题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zh-CN" altLang="en-US" noProof="0" dirty="0" smtClean="0"/>
            </a:lvl1pPr>
            <a:lvl2pPr>
              <a:defRPr lang="zh-CN" altLang="en-US" noProof="0" dirty="0" smtClean="0"/>
            </a:lvl2pPr>
            <a:lvl3pPr>
              <a:defRPr lang="zh-CN" altLang="en-US" noProof="0" dirty="0" smtClean="0"/>
            </a:lvl3pPr>
            <a:lvl4pPr>
              <a:defRPr lang="zh-CN" alt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lang="zh-CN" altLang="en-US" noProof="0" dirty="0"/>
              <a:t>点击输入内文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705592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-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rgbClr val="575757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 dirty="0"/>
              <a:t>点击输入副标题</a:t>
            </a:r>
            <a:endParaRPr lang="en-US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 dirty="0"/>
            </a:lvl1pPr>
          </a:lstStyle>
          <a:p>
            <a:pPr lvl="0"/>
            <a:r>
              <a:rPr lang="zh-CN" altLang="en-US" noProof="0" dirty="0"/>
              <a:t>点击输入标题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latin typeface="+mn-lt"/>
                <a:ea typeface="+mn-ea"/>
              </a:defRPr>
            </a:lvl1pPr>
            <a:lvl2pPr>
              <a:defRPr>
                <a:latin typeface="+mn-lt"/>
                <a:ea typeface="+mn-ea"/>
              </a:defRPr>
            </a:lvl2pPr>
            <a:lvl3pPr>
              <a:defRPr>
                <a:latin typeface="+mn-lt"/>
                <a:ea typeface="+mn-ea"/>
              </a:defRPr>
            </a:lvl3pPr>
            <a:lvl4pPr>
              <a:defRPr>
                <a:latin typeface="+mn-lt"/>
                <a:ea typeface="+mn-ea"/>
              </a:defRPr>
            </a:lvl4pPr>
            <a:lvl5pPr>
              <a:defRPr>
                <a:latin typeface="+mn-lt"/>
                <a:ea typeface="+mn-ea"/>
              </a:defRPr>
            </a:lvl5pPr>
          </a:lstStyle>
          <a:p>
            <a:pPr lvl="0"/>
            <a:r>
              <a:rPr lang="zh-CN" altLang="en-US" noProof="0" dirty="0"/>
              <a:t>点击输入内文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715988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-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 dirty="0"/>
            </a:lvl1pPr>
          </a:lstStyle>
          <a:p>
            <a:pPr lvl="0"/>
            <a:r>
              <a:rPr lang="zh-CN" altLang="en-US" noProof="0" dirty="0"/>
              <a:t>点击输入标题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rgbClr val="575757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 dirty="0"/>
              <a:t>点击输入副标题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  <a:ea typeface="+mn-ea"/>
              </a:defRPr>
            </a:lvl1pPr>
            <a:lvl2pPr>
              <a:tabLst>
                <a:tab pos="5029200" algn="r"/>
              </a:tabLst>
              <a:defRPr>
                <a:latin typeface="+mn-lt"/>
                <a:ea typeface="+mn-ea"/>
              </a:defRPr>
            </a:lvl2pPr>
            <a:lvl3pPr>
              <a:tabLst>
                <a:tab pos="5029200" algn="r"/>
              </a:tabLst>
              <a:defRPr>
                <a:latin typeface="+mn-lt"/>
                <a:ea typeface="+mn-ea"/>
              </a:defRPr>
            </a:lvl3pPr>
            <a:lvl4pPr>
              <a:tabLst>
                <a:tab pos="5029200" algn="r"/>
              </a:tabLst>
              <a:defRPr>
                <a:latin typeface="+mn-lt"/>
                <a:ea typeface="+mn-ea"/>
              </a:defRPr>
            </a:lvl4pPr>
            <a:lvl5pPr>
              <a:tabLst>
                <a:tab pos="5029200" algn="r"/>
              </a:tabLst>
              <a:defRPr baseline="0">
                <a:latin typeface="+mn-lt"/>
                <a:ea typeface="+mn-ea"/>
              </a:defRPr>
            </a:lvl5pPr>
          </a:lstStyle>
          <a:p>
            <a:pPr lvl="0"/>
            <a:r>
              <a:rPr lang="zh-CN" altLang="en-US" noProof="0" dirty="0"/>
              <a:t>点击输入内文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>
                <a:latin typeface="+mn-lt"/>
                <a:ea typeface="+mn-ea"/>
              </a:defRPr>
            </a:lvl1pPr>
            <a:lvl2pPr>
              <a:tabLst>
                <a:tab pos="5029200" algn="r"/>
              </a:tabLst>
              <a:defRPr>
                <a:latin typeface="+mn-lt"/>
                <a:ea typeface="+mn-ea"/>
              </a:defRPr>
            </a:lvl2pPr>
            <a:lvl3pPr>
              <a:tabLst>
                <a:tab pos="5029200" algn="r"/>
              </a:tabLst>
              <a:defRPr>
                <a:latin typeface="+mn-lt"/>
                <a:ea typeface="+mn-ea"/>
              </a:defRPr>
            </a:lvl3pPr>
            <a:lvl4pPr>
              <a:tabLst>
                <a:tab pos="5029200" algn="r"/>
              </a:tabLst>
              <a:defRPr>
                <a:latin typeface="+mn-lt"/>
                <a:ea typeface="+mn-ea"/>
              </a:defRPr>
            </a:lvl4pPr>
            <a:lvl5pPr>
              <a:tabLst>
                <a:tab pos="5029200" algn="r"/>
              </a:tabLst>
              <a:defRPr baseline="0">
                <a:latin typeface="+mn-lt"/>
                <a:ea typeface="+mn-ea"/>
              </a:defRPr>
            </a:lvl5pPr>
          </a:lstStyle>
          <a:p>
            <a:pPr lvl="0"/>
            <a:r>
              <a:rPr lang="zh-CN" altLang="en-US" noProof="0" dirty="0"/>
              <a:t>点击输入内文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19502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338" y="3126600"/>
            <a:ext cx="4847324" cy="6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85805"/>
      </p:ext>
    </p:extLst>
  </p:cSld>
  <p:clrMapOvr>
    <a:masterClrMapping/>
  </p:clrMapOvr>
  <p:transition>
    <p:fade/>
  </p:transition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-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noProof="0" dirty="0"/>
            </a:lvl1pPr>
          </a:lstStyle>
          <a:p>
            <a:pPr lvl="0"/>
            <a:r>
              <a:rPr lang="zh-CN" altLang="en-US" noProof="0" dirty="0"/>
              <a:t>点击输入标题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  <a:latin typeface="+mn-lt"/>
                <a:ea typeface="+mn-ea"/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zh-CN" altLang="en-US" noProof="0" dirty="0"/>
              <a:t>点击输入引言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zh-CN" altLang="en-US" noProof="0" dirty="0" smtClean="0"/>
            </a:lvl1pPr>
            <a:lvl2pPr>
              <a:defRPr lang="zh-CN" altLang="en-US" noProof="0" dirty="0" smtClean="0"/>
            </a:lvl2pPr>
            <a:lvl3pPr>
              <a:defRPr lang="zh-CN" altLang="en-US" noProof="0" dirty="0" smtClean="0"/>
            </a:lvl3pPr>
            <a:lvl4pPr>
              <a:defRPr lang="zh-CN" altLang="en-US" noProof="0" dirty="0" smtClean="0"/>
            </a:lvl4pPr>
            <a:lvl5pPr>
              <a:defRPr lang="en-US" noProof="0" dirty="0"/>
            </a:lvl5pPr>
          </a:lstStyle>
          <a:p>
            <a:pPr lvl="0">
              <a:tabLst>
                <a:tab pos="5029200" algn="r"/>
              </a:tabLst>
            </a:pPr>
            <a:r>
              <a:rPr lang="zh-CN" altLang="en-US" noProof="0" dirty="0"/>
              <a:t>点击输入内文</a:t>
            </a:r>
          </a:p>
          <a:p>
            <a:pPr lvl="1">
              <a:tabLst>
                <a:tab pos="5029200" algn="r"/>
              </a:tabLst>
            </a:pPr>
            <a:r>
              <a:rPr lang="zh-CN" altLang="en-US" noProof="0" dirty="0"/>
              <a:t>第二级</a:t>
            </a:r>
          </a:p>
          <a:p>
            <a:pPr lvl="2">
              <a:tabLst>
                <a:tab pos="5029200" algn="r"/>
              </a:tabLst>
            </a:pPr>
            <a:r>
              <a:rPr lang="zh-CN" altLang="en-US" noProof="0" dirty="0"/>
              <a:t>第三级</a:t>
            </a:r>
          </a:p>
          <a:p>
            <a:pPr lvl="3">
              <a:tabLst>
                <a:tab pos="5029200" algn="r"/>
              </a:tabLst>
            </a:pPr>
            <a:r>
              <a:rPr lang="zh-CN" altLang="en-US" noProof="0" dirty="0"/>
              <a:t>第四级</a:t>
            </a:r>
          </a:p>
          <a:p>
            <a:pPr lvl="4">
              <a:tabLst>
                <a:tab pos="5029200" algn="r"/>
              </a:tabLst>
            </a:pPr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rgbClr val="575757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zh-CN" altLang="en-US" noProof="0" dirty="0"/>
              <a:t>点击输入副标题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370756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-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latin typeface="+mn-lt"/>
                <a:ea typeface="+mn-ea"/>
              </a:defRPr>
            </a:lvl1pPr>
          </a:lstStyle>
          <a:p>
            <a:pPr lvl="0"/>
            <a:r>
              <a:rPr lang="zh-CN" altLang="en-US" noProof="0" dirty="0"/>
              <a:t>点击输入内容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5" y="4211955"/>
            <a:ext cx="1739627" cy="1725448"/>
          </a:xfrm>
        </p:spPr>
        <p:txBody>
          <a:bodyPr anchor="ctr" anchorCtr="0"/>
          <a:lstStyle>
            <a:lvl1pPr algn="ctr">
              <a:defRPr sz="900">
                <a:latin typeface="+mn-lt"/>
                <a:ea typeface="+mn-ea"/>
              </a:defRPr>
            </a:lvl1pPr>
          </a:lstStyle>
          <a:p>
            <a:r>
              <a:rPr lang="zh-CN" altLang="en-US" sz="900" noProof="0" dirty="0"/>
              <a:t>点击此处添加赞助商标识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028137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>
                <a:latin typeface="+mn-lt"/>
                <a:ea typeface="+mn-ea"/>
              </a:defRPr>
            </a:lvl1pPr>
          </a:lstStyle>
          <a:p>
            <a:pPr lvl="0"/>
            <a:r>
              <a:rPr lang="zh-CN" altLang="en-US" noProof="0" dirty="0"/>
              <a:t>点击输入内容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3575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160726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5467" y="3126600"/>
            <a:ext cx="4833065" cy="604800"/>
          </a:xfrm>
          <a:prstGeom prst="rect">
            <a:avLst/>
          </a:prstGeom>
        </p:spPr>
      </p:pic>
      <p:sp>
        <p:nvSpPr>
          <p:cNvPr id="6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en-US" altLang="zh-CN" sz="650" dirty="0">
                <a:solidFill>
                  <a:schemeClr val="bg1"/>
                </a:solidFill>
                <a:latin typeface="+mn-lt"/>
                <a:ea typeface="+mn-ea"/>
                <a:cs typeface="Arial Unicode MS" panose="020B0604020202020204" pitchFamily="34" charset="-122"/>
              </a:rPr>
              <a:t>© 2017</a:t>
            </a:r>
            <a:r>
              <a:rPr lang="zh-CN" altLang="en-US" sz="650" dirty="0">
                <a:solidFill>
                  <a:schemeClr val="bg1"/>
                </a:solidFill>
                <a:latin typeface="+mn-lt"/>
                <a:ea typeface="+mn-ea"/>
                <a:cs typeface="Arial Unicode MS" panose="020B0604020202020204" pitchFamily="34" charset="-122"/>
              </a:rPr>
              <a:t>。欲了解更多資訊，请联系德勤中国。</a:t>
            </a:r>
            <a:endParaRPr lang="en-US" sz="65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9397911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cover-Circle Black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pPr lvl="0"/>
            <a:r>
              <a:rPr lang="zh-CN" altLang="en-US" noProof="0" dirty="0"/>
              <a:t>點擊輸入演示文稿標題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j-lt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noProof="0" dirty="0"/>
              <a:t>點擊輸入演示文稿副標題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點擊輸入作者，日期</a:t>
            </a: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016" y="378000"/>
            <a:ext cx="1623600" cy="309257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7657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2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160726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altLang="zh-CN" sz="650" noProof="0" dirty="0">
                <a:solidFill>
                  <a:schemeClr val="bg1"/>
                </a:solidFill>
                <a:latin typeface="+mn-lt"/>
                <a:ea typeface="+mn-ea"/>
              </a:rPr>
              <a:t>© 2017</a:t>
            </a:r>
            <a:r>
              <a:rPr lang="zh-CN" altLang="en-US" sz="650" noProof="0" dirty="0">
                <a:solidFill>
                  <a:schemeClr val="bg1"/>
                </a:solidFill>
                <a:latin typeface="+mn-lt"/>
                <a:ea typeface="+mn-ea"/>
              </a:rPr>
              <a:t>。欲了解更多資訊，请联系德勤中国。</a:t>
            </a:r>
            <a:endParaRPr lang="en-US" sz="65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7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+mn-lt"/>
                <a:ea typeface="华文细黑" panose="02010600040101010101" pitchFamily="2" charset="-122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  <a:latin typeface="+mn-lt"/>
              <a:ea typeface="华文细黑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18099905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07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726378"/>
      </p:ext>
    </p:extLst>
  </p:cSld>
  <p:clrMapOvr>
    <a:masterClrMapping/>
  </p:clrMapOvr>
  <p:transition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cover-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>
              <a:defRPr lang="zh-CN" altLang="en-US" sz="3600" b="0" noProof="0" dirty="0" smtClean="0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pPr lvl="0" algn="ctr">
              <a:lnSpc>
                <a:spcPts val="4200"/>
              </a:lnSpc>
            </a:pPr>
            <a:r>
              <a:rPr lang="zh-CN" altLang="en-US" noProof="0" dirty="0"/>
              <a:t>點擊輸入演示文稿標題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600" noProof="0" dirty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</a:pPr>
            <a:r>
              <a:rPr lang="zh-CN" altLang="en-US" noProof="0" dirty="0"/>
              <a:t>點擊輸入演示文稿副標題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zh-CN" altLang="en-US" noProof="0" dirty="0"/>
              <a:t>點擊輸入作者，日期</a:t>
            </a:r>
          </a:p>
        </p:txBody>
      </p:sp>
      <p:grpSp>
        <p:nvGrpSpPr>
          <p:cNvPr id="6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22" y="378000"/>
            <a:ext cx="623441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186571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Divider-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TW" altLang="en-US" noProof="0" dirty="0"/>
              <a:t>點擊輸入分隔幻燈片標題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noProof="0" dirty="0"/>
              <a:t>點擊輸入分隔幻燈片</a:t>
            </a:r>
            <a:r>
              <a:rPr lang="zh-CN" altLang="en-US" noProof="0" dirty="0"/>
              <a:t>副</a:t>
            </a:r>
            <a:r>
              <a:rPr lang="zh-TW" altLang="en-US" noProof="0" dirty="0"/>
              <a:t>標題</a:t>
            </a:r>
            <a:endParaRPr lang="zh-CN" alt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bg1"/>
                </a:solidFill>
                <a:latin typeface="+mn-lt"/>
                <a:ea typeface="+mn-ea"/>
              </a:rPr>
              <a:t>© </a:t>
            </a:r>
            <a:r>
              <a:rPr lang="fr-FR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2019</a:t>
            </a:r>
            <a:r>
              <a:rPr lang="zh-CN" altLang="en-US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。</a:t>
            </a:r>
            <a:r>
              <a:rPr lang="zh-CN" altLang="en-US" sz="650" noProof="0" dirty="0">
                <a:solidFill>
                  <a:schemeClr val="bg1"/>
                </a:solidFill>
                <a:latin typeface="+mn-lt"/>
                <a:ea typeface="+mn-ea"/>
              </a:rPr>
              <a:t>欲瞭解更多資訊，請聯繫德勤中國</a:t>
            </a:r>
            <a:endParaRPr lang="en-US" sz="65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44869055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Divider-dark green">
    <p:bg bwMode="gray"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TW" altLang="en-US" noProof="0" dirty="0"/>
              <a:t>點擊輸入分隔幻燈片標題</a:t>
            </a:r>
            <a:endParaRPr lang="en-US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noProof="0" dirty="0"/>
              <a:t>點擊輸入分隔幻燈片</a:t>
            </a:r>
            <a:r>
              <a:rPr lang="zh-CN" altLang="en-US" noProof="0" dirty="0"/>
              <a:t>副</a:t>
            </a:r>
            <a:r>
              <a:rPr lang="zh-TW" altLang="en-US" noProof="0" dirty="0"/>
              <a:t>標題</a:t>
            </a:r>
            <a:endParaRPr lang="zh-CN" altLang="en-US" noProof="0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bg1"/>
                </a:solidFill>
                <a:latin typeface="+mn-lt"/>
                <a:ea typeface="+mn-ea"/>
              </a:rPr>
              <a:t>© </a:t>
            </a:r>
            <a:r>
              <a:rPr lang="fr-FR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2019</a:t>
            </a:r>
            <a:r>
              <a:rPr lang="zh-CN" altLang="en-US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。</a:t>
            </a:r>
            <a:r>
              <a:rPr lang="zh-CN" altLang="en-US" sz="650" noProof="0" dirty="0">
                <a:solidFill>
                  <a:schemeClr val="bg1"/>
                </a:solidFill>
                <a:latin typeface="+mn-lt"/>
                <a:ea typeface="+mn-ea"/>
              </a:rPr>
              <a:t>欲瞭解更多資訊，請聯繫德勤中國</a:t>
            </a:r>
            <a:endParaRPr lang="en-US" sz="65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71412632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-Divider-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+mj-ea"/>
                <a:cs typeface="Open Sans" panose="020B0606030504020204" pitchFamily="34" charset="0"/>
              </a:defRPr>
            </a:lvl1pPr>
          </a:lstStyle>
          <a:p>
            <a:r>
              <a:rPr lang="zh-TW" altLang="en-US" noProof="0" dirty="0"/>
              <a:t>點擊輸入分隔幻燈片標題</a:t>
            </a:r>
            <a:endParaRPr lang="en-US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  <a:latin typeface="+mn-lt"/>
                <a:ea typeface="+mn-ea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noProof="0" dirty="0"/>
              <a:t>點擊輸入分隔幻燈片</a:t>
            </a:r>
            <a:r>
              <a:rPr lang="zh-CN" altLang="en-US" noProof="0" dirty="0"/>
              <a:t>副</a:t>
            </a:r>
            <a:r>
              <a:rPr lang="zh-TW" altLang="en-US" noProof="0" dirty="0"/>
              <a:t>標題</a:t>
            </a:r>
            <a:endParaRPr lang="zh-CN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893945678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C-Key statement dark green">
    <p:bg>
      <p:bgPr>
        <a:solidFill>
          <a:srgbClr val="046A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zh-CN" altLang="en-US" noProof="0" dirty="0"/>
              <a:t>點擊輸入關鍵演示文稿內容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altLang="zh-TW" sz="650" noProof="0" dirty="0">
                <a:solidFill>
                  <a:schemeClr val="bg1"/>
                </a:solidFill>
                <a:latin typeface="+mn-lt"/>
                <a:ea typeface="+mn-ea"/>
              </a:rPr>
              <a:t>© </a:t>
            </a:r>
            <a:r>
              <a:rPr lang="en-US" altLang="zh-TW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201</a:t>
            </a:r>
            <a:r>
              <a:rPr lang="en-US" altLang="zh-CN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9</a:t>
            </a:r>
            <a:r>
              <a:rPr lang="zh-TW" altLang="en-US" sz="650" noProof="0" dirty="0" smtClean="0">
                <a:solidFill>
                  <a:schemeClr val="bg1"/>
                </a:solidFill>
                <a:latin typeface="+mn-lt"/>
                <a:ea typeface="+mn-ea"/>
              </a:rPr>
              <a:t>。</a:t>
            </a:r>
            <a:r>
              <a:rPr lang="zh-TW" altLang="en-US" sz="650" noProof="0" dirty="0">
                <a:solidFill>
                  <a:schemeClr val="bg1"/>
                </a:solidFill>
                <a:latin typeface="+mn-lt"/>
                <a:ea typeface="+mn-ea"/>
              </a:rPr>
              <a:t>欲瞭解更多資訊，請聯繫德勤中國</a:t>
            </a:r>
            <a:endParaRPr lang="en-US" sz="65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  <a:latin typeface="+mn-lt"/>
                <a:ea typeface="华文细黑" panose="02010600040101010101" pitchFamily="2" charset="-122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  <a:latin typeface="+mn-lt"/>
              <a:ea typeface="华文细黑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7427289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-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</p:spPr>
        <p:txBody>
          <a:bodyPr/>
          <a:lstStyle>
            <a:lvl1pPr>
              <a:defRPr>
                <a:latin typeface="+mj-lt"/>
                <a:ea typeface="+mj-ea"/>
              </a:defRPr>
            </a:lvl1pPr>
          </a:lstStyle>
          <a:p>
            <a:r>
              <a:rPr lang="zh-CN" altLang="en-US" noProof="0" dirty="0"/>
              <a:t>點擊輸入標題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58327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9.xml"/><Relationship Id="rId16" Type="http://schemas.openxmlformats.org/officeDocument/2006/relationships/vmlDrawing" Target="../drawings/vmlDrawing2.v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74" name="think-cell 幻灯片" r:id="rId21" imgW="270" imgH="270" progId="TCLayout.ActiveDocument.1">
                  <p:embed/>
                </p:oleObj>
              </mc:Choice>
              <mc:Fallback>
                <p:oleObj name="think-cell 幻灯片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點擊輸入標題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2019</a:t>
            </a:r>
            <a:r>
              <a:rPr lang="zh-CN" altLang="en-US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。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欲瞭解更多資訊，請聯繫德勤中國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點擊輸入內文</a:t>
            </a:r>
          </a:p>
          <a:p>
            <a:pPr lvl="1"/>
            <a:r>
              <a:rPr lang="zh-CN" altLang="en-US" noProof="0" dirty="0"/>
              <a:t>第二級</a:t>
            </a:r>
          </a:p>
          <a:p>
            <a:pPr lvl="2"/>
            <a:r>
              <a:rPr lang="zh-CN" altLang="en-US" noProof="0" dirty="0"/>
              <a:t>第三級</a:t>
            </a:r>
          </a:p>
          <a:p>
            <a:pPr lvl="3"/>
            <a:r>
              <a:rPr lang="zh-CN" altLang="en-US" noProof="0" dirty="0"/>
              <a:t>第四級</a:t>
            </a:r>
          </a:p>
          <a:p>
            <a:pPr lvl="4"/>
            <a:r>
              <a:rPr lang="zh-CN" altLang="en-US" noProof="0" dirty="0"/>
              <a:t>第五級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4410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10" r:id="rId7"/>
    <p:sldLayoutId id="2147483811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65" r:id="rId14"/>
    <p:sldLayoutId id="2147483866" r:id="rId15"/>
    <p:sldLayoutId id="2147483863" r:id="rId16"/>
    <p:sldLayoutId id="2147483864" r:id="rId17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n-lt"/>
          <a:ea typeface="+mn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orient="horz" pos="236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07" name="think-cell 幻灯片" r:id="rId18" imgW="270" imgH="270" progId="TCLayout.ActiveDocument.1">
                  <p:embed/>
                </p:oleObj>
              </mc:Choice>
              <mc:Fallback>
                <p:oleObj name="think-cell 幻灯片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zh-CN" altLang="en-US" noProof="0" dirty="0"/>
              <a:t>点击输入标题</a:t>
            </a:r>
            <a:endParaRPr lang="en-US" noProof="0" dirty="0"/>
          </a:p>
        </p:txBody>
      </p:sp>
      <p:sp>
        <p:nvSpPr>
          <p:cNvPr id="18" name="TextBox 17"/>
          <p:cNvSpPr txBox="1"/>
          <p:nvPr/>
        </p:nvSpPr>
        <p:spPr>
          <a:xfrm>
            <a:off x="376237" y="6477000"/>
            <a:ext cx="401637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fr-FR" sz="650" noProof="0" dirty="0">
                <a:solidFill>
                  <a:schemeClr val="tx1"/>
                </a:solidFill>
                <a:latin typeface="+mn-lt"/>
                <a:ea typeface="+mn-ea"/>
              </a:rPr>
              <a:t>© </a:t>
            </a:r>
            <a:r>
              <a:rPr lang="fr-FR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2019</a:t>
            </a:r>
            <a:r>
              <a:rPr lang="zh-CN" altLang="en-US" sz="650" noProof="0" dirty="0" smtClean="0">
                <a:solidFill>
                  <a:schemeClr val="tx1"/>
                </a:solidFill>
                <a:latin typeface="+mn-lt"/>
                <a:ea typeface="+mn-ea"/>
              </a:rPr>
              <a:t>。</a:t>
            </a:r>
            <a:r>
              <a:rPr lang="zh-CN" altLang="en-US" sz="650" noProof="0" dirty="0">
                <a:solidFill>
                  <a:schemeClr val="tx1"/>
                </a:solidFill>
                <a:latin typeface="+mn-lt"/>
                <a:ea typeface="+mn-ea"/>
              </a:rPr>
              <a:t>欲了解更多資訊，请联系德勤中国。</a:t>
            </a:r>
            <a:endParaRPr lang="en-US" sz="65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zh-CN" altLang="en-US" noProof="0" dirty="0"/>
              <a:t>点击输入内文</a:t>
            </a:r>
          </a:p>
          <a:p>
            <a:pPr lvl="1"/>
            <a:r>
              <a:rPr lang="zh-CN" altLang="en-US" noProof="0" dirty="0"/>
              <a:t>第二级</a:t>
            </a:r>
          </a:p>
          <a:p>
            <a:pPr lvl="2"/>
            <a:r>
              <a:rPr lang="zh-CN" altLang="en-US" noProof="0" dirty="0"/>
              <a:t>第三级</a:t>
            </a:r>
          </a:p>
          <a:p>
            <a:pPr lvl="3"/>
            <a:r>
              <a:rPr lang="zh-CN" altLang="en-US" noProof="0" dirty="0"/>
              <a:t>第四级</a:t>
            </a:r>
          </a:p>
          <a:p>
            <a:pPr lvl="4"/>
            <a:r>
              <a:rPr lang="zh-CN" altLang="en-US" noProof="0" dirty="0"/>
              <a:t>第五级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华文细黑" panose="02010600040101010101" pitchFamily="2" charset="-122"/>
                <a:ea typeface="华文细黑" panose="02010600040101010101" pitchFamily="2" charset="-122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  <a:latin typeface="华文细黑" panose="02010600040101010101" pitchFamily="2" charset="-122"/>
              <a:ea typeface="华文细黑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80846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5" r:id="rId5"/>
    <p:sldLayoutId id="2147483854" r:id="rId6"/>
    <p:sldLayoutId id="2147483855" r:id="rId7"/>
    <p:sldLayoutId id="2147483856" r:id="rId8"/>
    <p:sldLayoutId id="2147483867" r:id="rId9"/>
    <p:sldLayoutId id="2147483857" r:id="rId10"/>
    <p:sldLayoutId id="2147483858" r:id="rId11"/>
    <p:sldLayoutId id="2147483868" r:id="rId12"/>
    <p:sldLayoutId id="2147483861" r:id="rId13"/>
    <p:sldLayoutId id="2147483862" r:id="rId1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5760" userDrawn="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6" pos="2823">
          <p15:clr>
            <a:srgbClr val="F26B43"/>
          </p15:clr>
        </p15:guide>
        <p15:guide id="17" pos="2937">
          <p15:clr>
            <a:srgbClr val="F26B43"/>
          </p15:clr>
        </p15:guide>
        <p15:guide id="18" pos="2880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856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17" name="think-cell 幻灯片" r:id="rId5" imgW="473" imgH="473" progId="TCLayout.ActiveDocument.1">
                  <p:embed/>
                </p:oleObj>
              </mc:Choice>
              <mc:Fallback>
                <p:oleObj name="think-cell 幻灯片" r:id="rId5" imgW="473" imgH="47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588245"/>
            <a:ext cx="8391525" cy="498287"/>
          </a:xfrm>
        </p:spPr>
        <p:txBody>
          <a:bodyPr/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自贸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试验区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济南片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区和济南市省级以上开发区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布示意图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43" name="Group 342"/>
          <p:cNvGrpSpPr/>
          <p:nvPr/>
        </p:nvGrpSpPr>
        <p:grpSpPr>
          <a:xfrm>
            <a:off x="2735526" y="1528709"/>
            <a:ext cx="3553086" cy="3757641"/>
            <a:chOff x="2533389" y="1822796"/>
            <a:chExt cx="3553086" cy="3757641"/>
          </a:xfrm>
          <a:solidFill>
            <a:schemeClr val="accent2">
              <a:lumMod val="20000"/>
              <a:lumOff val="80000"/>
            </a:schemeClr>
          </a:solidFill>
          <a:effectLst>
            <a:outerShdw blurRad="63500" sx="102000" sy="102000" algn="ctr" rotWithShape="0">
              <a:srgbClr val="046A38">
                <a:alpha val="40000"/>
              </a:srgbClr>
            </a:outerShdw>
          </a:effectLst>
        </p:grpSpPr>
        <p:sp>
          <p:nvSpPr>
            <p:cNvPr id="344" name="任意多边形 83"/>
            <p:cNvSpPr/>
            <p:nvPr/>
          </p:nvSpPr>
          <p:spPr bwMode="gray">
            <a:xfrm>
              <a:off x="4716030" y="4249023"/>
              <a:ext cx="1370445" cy="1283708"/>
            </a:xfrm>
            <a:custGeom>
              <a:avLst/>
              <a:gdLst>
                <a:gd name="connsiteX0" fmla="*/ 1634490 w 1756410"/>
                <a:gd name="connsiteY0" fmla="*/ 1691640 h 1691640"/>
                <a:gd name="connsiteX1" fmla="*/ 1642110 w 1756410"/>
                <a:gd name="connsiteY1" fmla="*/ 1604010 h 1691640"/>
                <a:gd name="connsiteX2" fmla="*/ 1657350 w 1756410"/>
                <a:gd name="connsiteY2" fmla="*/ 1535430 h 1691640"/>
                <a:gd name="connsiteX3" fmla="*/ 1615440 w 1756410"/>
                <a:gd name="connsiteY3" fmla="*/ 1497330 h 1691640"/>
                <a:gd name="connsiteX4" fmla="*/ 1649730 w 1756410"/>
                <a:gd name="connsiteY4" fmla="*/ 1470660 h 1691640"/>
                <a:gd name="connsiteX5" fmla="*/ 1653540 w 1756410"/>
                <a:gd name="connsiteY5" fmla="*/ 1394460 h 1691640"/>
                <a:gd name="connsiteX6" fmla="*/ 1543050 w 1756410"/>
                <a:gd name="connsiteY6" fmla="*/ 1322070 h 1691640"/>
                <a:gd name="connsiteX7" fmla="*/ 1569720 w 1756410"/>
                <a:gd name="connsiteY7" fmla="*/ 1196340 h 1691640"/>
                <a:gd name="connsiteX8" fmla="*/ 1565910 w 1756410"/>
                <a:gd name="connsiteY8" fmla="*/ 1123950 h 1691640"/>
                <a:gd name="connsiteX9" fmla="*/ 1600200 w 1756410"/>
                <a:gd name="connsiteY9" fmla="*/ 1093470 h 1691640"/>
                <a:gd name="connsiteX10" fmla="*/ 1668780 w 1756410"/>
                <a:gd name="connsiteY10" fmla="*/ 1078230 h 1691640"/>
                <a:gd name="connsiteX11" fmla="*/ 1706880 w 1756410"/>
                <a:gd name="connsiteY11" fmla="*/ 1093470 h 1691640"/>
                <a:gd name="connsiteX12" fmla="*/ 1741170 w 1756410"/>
                <a:gd name="connsiteY12" fmla="*/ 1070610 h 1691640"/>
                <a:gd name="connsiteX13" fmla="*/ 1737360 w 1756410"/>
                <a:gd name="connsiteY13" fmla="*/ 1036320 h 1691640"/>
                <a:gd name="connsiteX14" fmla="*/ 1714500 w 1756410"/>
                <a:gd name="connsiteY14" fmla="*/ 979170 h 1691640"/>
                <a:gd name="connsiteX15" fmla="*/ 1737360 w 1756410"/>
                <a:gd name="connsiteY15" fmla="*/ 918210 h 1691640"/>
                <a:gd name="connsiteX16" fmla="*/ 1756410 w 1756410"/>
                <a:gd name="connsiteY16" fmla="*/ 880110 h 1691640"/>
                <a:gd name="connsiteX17" fmla="*/ 1741170 w 1756410"/>
                <a:gd name="connsiteY17" fmla="*/ 864870 h 1691640"/>
                <a:gd name="connsiteX18" fmla="*/ 1668780 w 1756410"/>
                <a:gd name="connsiteY18" fmla="*/ 861060 h 1691640"/>
                <a:gd name="connsiteX19" fmla="*/ 1604010 w 1756410"/>
                <a:gd name="connsiteY19" fmla="*/ 830580 h 1691640"/>
                <a:gd name="connsiteX20" fmla="*/ 1619250 w 1756410"/>
                <a:gd name="connsiteY20" fmla="*/ 800100 h 1691640"/>
                <a:gd name="connsiteX21" fmla="*/ 1649730 w 1756410"/>
                <a:gd name="connsiteY21" fmla="*/ 796290 h 1691640"/>
                <a:gd name="connsiteX22" fmla="*/ 1607820 w 1756410"/>
                <a:gd name="connsiteY22" fmla="*/ 762000 h 1691640"/>
                <a:gd name="connsiteX23" fmla="*/ 1611630 w 1756410"/>
                <a:gd name="connsiteY23" fmla="*/ 697230 h 1691640"/>
                <a:gd name="connsiteX24" fmla="*/ 1634490 w 1756410"/>
                <a:gd name="connsiteY24" fmla="*/ 647700 h 1691640"/>
                <a:gd name="connsiteX25" fmla="*/ 1634490 w 1756410"/>
                <a:gd name="connsiteY25" fmla="*/ 621030 h 1691640"/>
                <a:gd name="connsiteX26" fmla="*/ 1596390 w 1756410"/>
                <a:gd name="connsiteY26" fmla="*/ 617220 h 1691640"/>
                <a:gd name="connsiteX27" fmla="*/ 1546860 w 1756410"/>
                <a:gd name="connsiteY27" fmla="*/ 605790 h 1691640"/>
                <a:gd name="connsiteX28" fmla="*/ 1520190 w 1756410"/>
                <a:gd name="connsiteY28" fmla="*/ 571500 h 1691640"/>
                <a:gd name="connsiteX29" fmla="*/ 1493520 w 1756410"/>
                <a:gd name="connsiteY29" fmla="*/ 567690 h 1691640"/>
                <a:gd name="connsiteX30" fmla="*/ 1493520 w 1756410"/>
                <a:gd name="connsiteY30" fmla="*/ 567690 h 1691640"/>
                <a:gd name="connsiteX31" fmla="*/ 1440180 w 1756410"/>
                <a:gd name="connsiteY31" fmla="*/ 514350 h 1691640"/>
                <a:gd name="connsiteX32" fmla="*/ 1424940 w 1756410"/>
                <a:gd name="connsiteY32" fmla="*/ 419100 h 1691640"/>
                <a:gd name="connsiteX33" fmla="*/ 1375410 w 1756410"/>
                <a:gd name="connsiteY33" fmla="*/ 419100 h 1691640"/>
                <a:gd name="connsiteX34" fmla="*/ 1337310 w 1756410"/>
                <a:gd name="connsiteY34" fmla="*/ 339090 h 1691640"/>
                <a:gd name="connsiteX35" fmla="*/ 1242060 w 1756410"/>
                <a:gd name="connsiteY35" fmla="*/ 358140 h 1691640"/>
                <a:gd name="connsiteX36" fmla="*/ 1165860 w 1756410"/>
                <a:gd name="connsiteY36" fmla="*/ 342900 h 1691640"/>
                <a:gd name="connsiteX37" fmla="*/ 1150620 w 1756410"/>
                <a:gd name="connsiteY37" fmla="*/ 297180 h 1691640"/>
                <a:gd name="connsiteX38" fmla="*/ 1150620 w 1756410"/>
                <a:gd name="connsiteY38" fmla="*/ 240030 h 1691640"/>
                <a:gd name="connsiteX39" fmla="*/ 1135380 w 1756410"/>
                <a:gd name="connsiteY39" fmla="*/ 171450 h 1691640"/>
                <a:gd name="connsiteX40" fmla="*/ 1139190 w 1756410"/>
                <a:gd name="connsiteY40" fmla="*/ 121920 h 1691640"/>
                <a:gd name="connsiteX41" fmla="*/ 1150620 w 1756410"/>
                <a:gd name="connsiteY41" fmla="*/ 95250 h 1691640"/>
                <a:gd name="connsiteX42" fmla="*/ 1082040 w 1756410"/>
                <a:gd name="connsiteY42" fmla="*/ 68580 h 1691640"/>
                <a:gd name="connsiteX43" fmla="*/ 1009650 w 1756410"/>
                <a:gd name="connsiteY43" fmla="*/ 110490 h 1691640"/>
                <a:gd name="connsiteX44" fmla="*/ 822960 w 1756410"/>
                <a:gd name="connsiteY44" fmla="*/ 7620 h 1691640"/>
                <a:gd name="connsiteX45" fmla="*/ 735330 w 1756410"/>
                <a:gd name="connsiteY45" fmla="*/ 0 h 1691640"/>
                <a:gd name="connsiteX46" fmla="*/ 708660 w 1756410"/>
                <a:gd name="connsiteY46" fmla="*/ 38100 h 1691640"/>
                <a:gd name="connsiteX47" fmla="*/ 605790 w 1756410"/>
                <a:gd name="connsiteY47" fmla="*/ 121920 h 1691640"/>
                <a:gd name="connsiteX48" fmla="*/ 544830 w 1756410"/>
                <a:gd name="connsiteY48" fmla="*/ 125730 h 1691640"/>
                <a:gd name="connsiteX49" fmla="*/ 514350 w 1756410"/>
                <a:gd name="connsiteY49" fmla="*/ 167640 h 1691640"/>
                <a:gd name="connsiteX50" fmla="*/ 468630 w 1756410"/>
                <a:gd name="connsiteY50" fmla="*/ 129540 h 1691640"/>
                <a:gd name="connsiteX51" fmla="*/ 392430 w 1756410"/>
                <a:gd name="connsiteY51" fmla="*/ 213360 h 1691640"/>
                <a:gd name="connsiteX52" fmla="*/ 312420 w 1756410"/>
                <a:gd name="connsiteY52" fmla="*/ 255270 h 1691640"/>
                <a:gd name="connsiteX53" fmla="*/ 186690 w 1756410"/>
                <a:gd name="connsiteY53" fmla="*/ 278130 h 1691640"/>
                <a:gd name="connsiteX54" fmla="*/ 175260 w 1756410"/>
                <a:gd name="connsiteY54" fmla="*/ 339090 h 1691640"/>
                <a:gd name="connsiteX55" fmla="*/ 133350 w 1756410"/>
                <a:gd name="connsiteY55" fmla="*/ 354330 h 1691640"/>
                <a:gd name="connsiteX56" fmla="*/ 38100 w 1756410"/>
                <a:gd name="connsiteY56" fmla="*/ 297180 h 1691640"/>
                <a:gd name="connsiteX57" fmla="*/ 0 w 1756410"/>
                <a:gd name="connsiteY57" fmla="*/ 281940 h 1691640"/>
                <a:gd name="connsiteX58" fmla="*/ 11430 w 1756410"/>
                <a:gd name="connsiteY58" fmla="*/ 365760 h 1691640"/>
                <a:gd name="connsiteX59" fmla="*/ 26670 w 1756410"/>
                <a:gd name="connsiteY59" fmla="*/ 445770 h 1691640"/>
                <a:gd name="connsiteX60" fmla="*/ 53340 w 1756410"/>
                <a:gd name="connsiteY60" fmla="*/ 510540 h 1691640"/>
                <a:gd name="connsiteX61" fmla="*/ 53340 w 1756410"/>
                <a:gd name="connsiteY61" fmla="*/ 594360 h 1691640"/>
                <a:gd name="connsiteX62" fmla="*/ 163830 w 1756410"/>
                <a:gd name="connsiteY62" fmla="*/ 693420 h 1691640"/>
                <a:gd name="connsiteX63" fmla="*/ 133350 w 1756410"/>
                <a:gd name="connsiteY63" fmla="*/ 792480 h 1691640"/>
                <a:gd name="connsiteX64" fmla="*/ 171450 w 1756410"/>
                <a:gd name="connsiteY64" fmla="*/ 857250 h 1691640"/>
                <a:gd name="connsiteX65" fmla="*/ 224790 w 1756410"/>
                <a:gd name="connsiteY65" fmla="*/ 868680 h 1691640"/>
                <a:gd name="connsiteX66" fmla="*/ 236220 w 1756410"/>
                <a:gd name="connsiteY66" fmla="*/ 902970 h 1691640"/>
                <a:gd name="connsiteX67" fmla="*/ 220980 w 1756410"/>
                <a:gd name="connsiteY67" fmla="*/ 952500 h 1691640"/>
                <a:gd name="connsiteX68" fmla="*/ 171450 w 1756410"/>
                <a:gd name="connsiteY68" fmla="*/ 990600 h 1691640"/>
                <a:gd name="connsiteX69" fmla="*/ 190500 w 1756410"/>
                <a:gd name="connsiteY69" fmla="*/ 1043940 h 1691640"/>
                <a:gd name="connsiteX70" fmla="*/ 201930 w 1756410"/>
                <a:gd name="connsiteY70" fmla="*/ 1059180 h 1691640"/>
                <a:gd name="connsiteX71" fmla="*/ 274320 w 1756410"/>
                <a:gd name="connsiteY71" fmla="*/ 1059180 h 1691640"/>
                <a:gd name="connsiteX72" fmla="*/ 323850 w 1756410"/>
                <a:gd name="connsiteY72" fmla="*/ 1055370 h 1691640"/>
                <a:gd name="connsiteX73" fmla="*/ 323850 w 1756410"/>
                <a:gd name="connsiteY73" fmla="*/ 1108710 h 1691640"/>
                <a:gd name="connsiteX74" fmla="*/ 339090 w 1756410"/>
                <a:gd name="connsiteY74" fmla="*/ 1154430 h 1691640"/>
                <a:gd name="connsiteX75" fmla="*/ 350520 w 1756410"/>
                <a:gd name="connsiteY75" fmla="*/ 1181100 h 1691640"/>
                <a:gd name="connsiteX76" fmla="*/ 381000 w 1756410"/>
                <a:gd name="connsiteY76" fmla="*/ 1207770 h 1691640"/>
                <a:gd name="connsiteX77" fmla="*/ 434340 w 1756410"/>
                <a:gd name="connsiteY77" fmla="*/ 1207770 h 1691640"/>
                <a:gd name="connsiteX78" fmla="*/ 369570 w 1756410"/>
                <a:gd name="connsiteY78" fmla="*/ 1245870 h 1691640"/>
                <a:gd name="connsiteX79" fmla="*/ 350520 w 1756410"/>
                <a:gd name="connsiteY79" fmla="*/ 1276350 h 1691640"/>
                <a:gd name="connsiteX80" fmla="*/ 323850 w 1756410"/>
                <a:gd name="connsiteY80" fmla="*/ 1337310 h 1691640"/>
                <a:gd name="connsiteX81" fmla="*/ 361950 w 1756410"/>
                <a:gd name="connsiteY81" fmla="*/ 1432560 h 1691640"/>
                <a:gd name="connsiteX82" fmla="*/ 384810 w 1756410"/>
                <a:gd name="connsiteY82" fmla="*/ 1440180 h 1691640"/>
                <a:gd name="connsiteX83" fmla="*/ 521970 w 1756410"/>
                <a:gd name="connsiteY83" fmla="*/ 1405890 h 1691640"/>
                <a:gd name="connsiteX84" fmla="*/ 560070 w 1756410"/>
                <a:gd name="connsiteY84" fmla="*/ 1379220 h 1691640"/>
                <a:gd name="connsiteX85" fmla="*/ 590550 w 1756410"/>
                <a:gd name="connsiteY85" fmla="*/ 1402080 h 1691640"/>
                <a:gd name="connsiteX86" fmla="*/ 594360 w 1756410"/>
                <a:gd name="connsiteY86" fmla="*/ 1443990 h 1691640"/>
                <a:gd name="connsiteX87" fmla="*/ 594360 w 1756410"/>
                <a:gd name="connsiteY87" fmla="*/ 1443990 h 1691640"/>
                <a:gd name="connsiteX88" fmla="*/ 678180 w 1756410"/>
                <a:gd name="connsiteY88" fmla="*/ 1501140 h 1691640"/>
                <a:gd name="connsiteX89" fmla="*/ 716280 w 1756410"/>
                <a:gd name="connsiteY89" fmla="*/ 1478280 h 1691640"/>
                <a:gd name="connsiteX90" fmla="*/ 750570 w 1756410"/>
                <a:gd name="connsiteY90" fmla="*/ 1501140 h 1691640"/>
                <a:gd name="connsiteX91" fmla="*/ 784860 w 1756410"/>
                <a:gd name="connsiteY91" fmla="*/ 1501140 h 1691640"/>
                <a:gd name="connsiteX92" fmla="*/ 899160 w 1756410"/>
                <a:gd name="connsiteY92" fmla="*/ 1569720 h 1691640"/>
                <a:gd name="connsiteX93" fmla="*/ 956310 w 1756410"/>
                <a:gd name="connsiteY93" fmla="*/ 1596390 h 1691640"/>
                <a:gd name="connsiteX94" fmla="*/ 1002030 w 1756410"/>
                <a:gd name="connsiteY94" fmla="*/ 1520190 h 1691640"/>
                <a:gd name="connsiteX95" fmla="*/ 1055370 w 1756410"/>
                <a:gd name="connsiteY95" fmla="*/ 1550670 h 1691640"/>
                <a:gd name="connsiteX96" fmla="*/ 1101090 w 1756410"/>
                <a:gd name="connsiteY96" fmla="*/ 1577340 h 1691640"/>
                <a:gd name="connsiteX97" fmla="*/ 1162050 w 1756410"/>
                <a:gd name="connsiteY97" fmla="*/ 1653540 h 1691640"/>
                <a:gd name="connsiteX98" fmla="*/ 1215390 w 1756410"/>
                <a:gd name="connsiteY98" fmla="*/ 1653540 h 1691640"/>
                <a:gd name="connsiteX99" fmla="*/ 1238250 w 1756410"/>
                <a:gd name="connsiteY99" fmla="*/ 1619250 h 1691640"/>
                <a:gd name="connsiteX100" fmla="*/ 1352550 w 1756410"/>
                <a:gd name="connsiteY100" fmla="*/ 1611630 h 1691640"/>
                <a:gd name="connsiteX101" fmla="*/ 1375410 w 1756410"/>
                <a:gd name="connsiteY101" fmla="*/ 1642110 h 1691640"/>
                <a:gd name="connsiteX102" fmla="*/ 1428750 w 1756410"/>
                <a:gd name="connsiteY102" fmla="*/ 1642110 h 1691640"/>
                <a:gd name="connsiteX103" fmla="*/ 1463040 w 1756410"/>
                <a:gd name="connsiteY103" fmla="*/ 1619250 h 1691640"/>
                <a:gd name="connsiteX104" fmla="*/ 1531620 w 1756410"/>
                <a:gd name="connsiteY104" fmla="*/ 1588770 h 1691640"/>
                <a:gd name="connsiteX105" fmla="*/ 1577340 w 1756410"/>
                <a:gd name="connsiteY105" fmla="*/ 1638300 h 1691640"/>
                <a:gd name="connsiteX106" fmla="*/ 1634490 w 1756410"/>
                <a:gd name="connsiteY106" fmla="*/ 1691640 h 169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1756410" h="1691640">
                  <a:moveTo>
                    <a:pt x="1634490" y="1691640"/>
                  </a:moveTo>
                  <a:lnTo>
                    <a:pt x="1642110" y="1604010"/>
                  </a:lnTo>
                  <a:lnTo>
                    <a:pt x="1657350" y="1535430"/>
                  </a:lnTo>
                  <a:lnTo>
                    <a:pt x="1615440" y="1497330"/>
                  </a:lnTo>
                  <a:lnTo>
                    <a:pt x="1649730" y="1470660"/>
                  </a:lnTo>
                  <a:lnTo>
                    <a:pt x="1653540" y="1394460"/>
                  </a:lnTo>
                  <a:lnTo>
                    <a:pt x="1543050" y="1322070"/>
                  </a:lnTo>
                  <a:lnTo>
                    <a:pt x="1569720" y="1196340"/>
                  </a:lnTo>
                  <a:lnTo>
                    <a:pt x="1565910" y="1123950"/>
                  </a:lnTo>
                  <a:lnTo>
                    <a:pt x="1600200" y="1093470"/>
                  </a:lnTo>
                  <a:lnTo>
                    <a:pt x="1668780" y="1078230"/>
                  </a:lnTo>
                  <a:lnTo>
                    <a:pt x="1706880" y="1093470"/>
                  </a:lnTo>
                  <a:lnTo>
                    <a:pt x="1741170" y="1070610"/>
                  </a:lnTo>
                  <a:lnTo>
                    <a:pt x="1737360" y="1036320"/>
                  </a:lnTo>
                  <a:lnTo>
                    <a:pt x="1714500" y="979170"/>
                  </a:lnTo>
                  <a:lnTo>
                    <a:pt x="1737360" y="918210"/>
                  </a:lnTo>
                  <a:lnTo>
                    <a:pt x="1756410" y="880110"/>
                  </a:lnTo>
                  <a:lnTo>
                    <a:pt x="1741170" y="864870"/>
                  </a:lnTo>
                  <a:lnTo>
                    <a:pt x="1668780" y="861060"/>
                  </a:lnTo>
                  <a:lnTo>
                    <a:pt x="1604010" y="830580"/>
                  </a:lnTo>
                  <a:lnTo>
                    <a:pt x="1619250" y="800100"/>
                  </a:lnTo>
                  <a:lnTo>
                    <a:pt x="1649730" y="796290"/>
                  </a:lnTo>
                  <a:lnTo>
                    <a:pt x="1607820" y="762000"/>
                  </a:lnTo>
                  <a:lnTo>
                    <a:pt x="1611630" y="697230"/>
                  </a:lnTo>
                  <a:lnTo>
                    <a:pt x="1634490" y="647700"/>
                  </a:lnTo>
                  <a:lnTo>
                    <a:pt x="1634490" y="621030"/>
                  </a:lnTo>
                  <a:lnTo>
                    <a:pt x="1596390" y="617220"/>
                  </a:lnTo>
                  <a:lnTo>
                    <a:pt x="1546860" y="605790"/>
                  </a:lnTo>
                  <a:lnTo>
                    <a:pt x="1520190" y="571500"/>
                  </a:lnTo>
                  <a:lnTo>
                    <a:pt x="1493520" y="567690"/>
                  </a:lnTo>
                  <a:lnTo>
                    <a:pt x="1493520" y="567690"/>
                  </a:lnTo>
                  <a:lnTo>
                    <a:pt x="1440180" y="514350"/>
                  </a:lnTo>
                  <a:lnTo>
                    <a:pt x="1424940" y="419100"/>
                  </a:lnTo>
                  <a:lnTo>
                    <a:pt x="1375410" y="419100"/>
                  </a:lnTo>
                  <a:lnTo>
                    <a:pt x="1337310" y="339090"/>
                  </a:lnTo>
                  <a:lnTo>
                    <a:pt x="1242060" y="358140"/>
                  </a:lnTo>
                  <a:lnTo>
                    <a:pt x="1165860" y="342900"/>
                  </a:lnTo>
                  <a:lnTo>
                    <a:pt x="1150620" y="297180"/>
                  </a:lnTo>
                  <a:lnTo>
                    <a:pt x="1150620" y="240030"/>
                  </a:lnTo>
                  <a:lnTo>
                    <a:pt x="1135380" y="171450"/>
                  </a:lnTo>
                  <a:lnTo>
                    <a:pt x="1139190" y="121920"/>
                  </a:lnTo>
                  <a:lnTo>
                    <a:pt x="1150620" y="95250"/>
                  </a:lnTo>
                  <a:lnTo>
                    <a:pt x="1082040" y="68580"/>
                  </a:lnTo>
                  <a:lnTo>
                    <a:pt x="1009650" y="110490"/>
                  </a:lnTo>
                  <a:lnTo>
                    <a:pt x="822960" y="7620"/>
                  </a:lnTo>
                  <a:lnTo>
                    <a:pt x="735330" y="0"/>
                  </a:lnTo>
                  <a:lnTo>
                    <a:pt x="708660" y="38100"/>
                  </a:lnTo>
                  <a:lnTo>
                    <a:pt x="605790" y="121920"/>
                  </a:lnTo>
                  <a:lnTo>
                    <a:pt x="544830" y="125730"/>
                  </a:lnTo>
                  <a:lnTo>
                    <a:pt x="514350" y="167640"/>
                  </a:lnTo>
                  <a:lnTo>
                    <a:pt x="468630" y="129540"/>
                  </a:lnTo>
                  <a:lnTo>
                    <a:pt x="392430" y="213360"/>
                  </a:lnTo>
                  <a:lnTo>
                    <a:pt x="312420" y="255270"/>
                  </a:lnTo>
                  <a:lnTo>
                    <a:pt x="186690" y="278130"/>
                  </a:lnTo>
                  <a:lnTo>
                    <a:pt x="175260" y="339090"/>
                  </a:lnTo>
                  <a:lnTo>
                    <a:pt x="133350" y="354330"/>
                  </a:lnTo>
                  <a:lnTo>
                    <a:pt x="38100" y="297180"/>
                  </a:lnTo>
                  <a:lnTo>
                    <a:pt x="0" y="281940"/>
                  </a:lnTo>
                  <a:lnTo>
                    <a:pt x="11430" y="365760"/>
                  </a:lnTo>
                  <a:lnTo>
                    <a:pt x="26670" y="445770"/>
                  </a:lnTo>
                  <a:lnTo>
                    <a:pt x="53340" y="510540"/>
                  </a:lnTo>
                  <a:lnTo>
                    <a:pt x="53340" y="594360"/>
                  </a:lnTo>
                  <a:lnTo>
                    <a:pt x="163830" y="693420"/>
                  </a:lnTo>
                  <a:lnTo>
                    <a:pt x="133350" y="792480"/>
                  </a:lnTo>
                  <a:lnTo>
                    <a:pt x="171450" y="857250"/>
                  </a:lnTo>
                  <a:lnTo>
                    <a:pt x="224790" y="868680"/>
                  </a:lnTo>
                  <a:lnTo>
                    <a:pt x="236220" y="902970"/>
                  </a:lnTo>
                  <a:lnTo>
                    <a:pt x="220980" y="952500"/>
                  </a:lnTo>
                  <a:lnTo>
                    <a:pt x="171450" y="990600"/>
                  </a:lnTo>
                  <a:lnTo>
                    <a:pt x="190500" y="1043940"/>
                  </a:lnTo>
                  <a:lnTo>
                    <a:pt x="201930" y="1059180"/>
                  </a:lnTo>
                  <a:lnTo>
                    <a:pt x="274320" y="1059180"/>
                  </a:lnTo>
                  <a:lnTo>
                    <a:pt x="323850" y="1055370"/>
                  </a:lnTo>
                  <a:lnTo>
                    <a:pt x="323850" y="1108710"/>
                  </a:lnTo>
                  <a:lnTo>
                    <a:pt x="339090" y="1154430"/>
                  </a:lnTo>
                  <a:lnTo>
                    <a:pt x="350520" y="1181100"/>
                  </a:lnTo>
                  <a:lnTo>
                    <a:pt x="381000" y="1207770"/>
                  </a:lnTo>
                  <a:lnTo>
                    <a:pt x="434340" y="1207770"/>
                  </a:lnTo>
                  <a:lnTo>
                    <a:pt x="369570" y="1245870"/>
                  </a:lnTo>
                  <a:lnTo>
                    <a:pt x="350520" y="1276350"/>
                  </a:lnTo>
                  <a:lnTo>
                    <a:pt x="323850" y="1337310"/>
                  </a:lnTo>
                  <a:lnTo>
                    <a:pt x="361950" y="1432560"/>
                  </a:lnTo>
                  <a:lnTo>
                    <a:pt x="384810" y="1440180"/>
                  </a:lnTo>
                  <a:lnTo>
                    <a:pt x="521970" y="1405890"/>
                  </a:lnTo>
                  <a:lnTo>
                    <a:pt x="560070" y="1379220"/>
                  </a:lnTo>
                  <a:lnTo>
                    <a:pt x="590550" y="1402080"/>
                  </a:lnTo>
                  <a:lnTo>
                    <a:pt x="594360" y="1443990"/>
                  </a:lnTo>
                  <a:lnTo>
                    <a:pt x="594360" y="1443990"/>
                  </a:lnTo>
                  <a:lnTo>
                    <a:pt x="678180" y="1501140"/>
                  </a:lnTo>
                  <a:lnTo>
                    <a:pt x="716280" y="1478280"/>
                  </a:lnTo>
                  <a:lnTo>
                    <a:pt x="750570" y="1501140"/>
                  </a:lnTo>
                  <a:lnTo>
                    <a:pt x="784860" y="1501140"/>
                  </a:lnTo>
                  <a:lnTo>
                    <a:pt x="899160" y="1569720"/>
                  </a:lnTo>
                  <a:lnTo>
                    <a:pt x="956310" y="1596390"/>
                  </a:lnTo>
                  <a:lnTo>
                    <a:pt x="1002030" y="1520190"/>
                  </a:lnTo>
                  <a:lnTo>
                    <a:pt x="1055370" y="1550670"/>
                  </a:lnTo>
                  <a:lnTo>
                    <a:pt x="1101090" y="1577340"/>
                  </a:lnTo>
                  <a:lnTo>
                    <a:pt x="1162050" y="1653540"/>
                  </a:lnTo>
                  <a:lnTo>
                    <a:pt x="1215390" y="1653540"/>
                  </a:lnTo>
                  <a:lnTo>
                    <a:pt x="1238250" y="1619250"/>
                  </a:lnTo>
                  <a:lnTo>
                    <a:pt x="1352550" y="1611630"/>
                  </a:lnTo>
                  <a:lnTo>
                    <a:pt x="1375410" y="1642110"/>
                  </a:lnTo>
                  <a:lnTo>
                    <a:pt x="1428750" y="1642110"/>
                  </a:lnTo>
                  <a:lnTo>
                    <a:pt x="1463040" y="1619250"/>
                  </a:lnTo>
                  <a:lnTo>
                    <a:pt x="1531620" y="1588770"/>
                  </a:lnTo>
                  <a:lnTo>
                    <a:pt x="1577340" y="1638300"/>
                  </a:lnTo>
                  <a:lnTo>
                    <a:pt x="1634490" y="169164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5" name="任意多边形 84"/>
            <p:cNvSpPr/>
            <p:nvPr/>
          </p:nvSpPr>
          <p:spPr bwMode="gray">
            <a:xfrm>
              <a:off x="4476298" y="3007238"/>
              <a:ext cx="1121798" cy="1520789"/>
            </a:xfrm>
            <a:custGeom>
              <a:avLst/>
              <a:gdLst>
                <a:gd name="connsiteX0" fmla="*/ 346710 w 1478280"/>
                <a:gd name="connsiteY0" fmla="*/ 1924050 h 2004060"/>
                <a:gd name="connsiteX1" fmla="*/ 480060 w 1478280"/>
                <a:gd name="connsiteY1" fmla="*/ 2004060 h 2004060"/>
                <a:gd name="connsiteX2" fmla="*/ 525780 w 1478280"/>
                <a:gd name="connsiteY2" fmla="*/ 1985010 h 2004060"/>
                <a:gd name="connsiteX3" fmla="*/ 537210 w 1478280"/>
                <a:gd name="connsiteY3" fmla="*/ 1920240 h 2004060"/>
                <a:gd name="connsiteX4" fmla="*/ 678180 w 1478280"/>
                <a:gd name="connsiteY4" fmla="*/ 1905000 h 2004060"/>
                <a:gd name="connsiteX5" fmla="*/ 746760 w 1478280"/>
                <a:gd name="connsiteY5" fmla="*/ 1863090 h 2004060"/>
                <a:gd name="connsiteX6" fmla="*/ 822960 w 1478280"/>
                <a:gd name="connsiteY6" fmla="*/ 1767840 h 2004060"/>
                <a:gd name="connsiteX7" fmla="*/ 876300 w 1478280"/>
                <a:gd name="connsiteY7" fmla="*/ 1809750 h 2004060"/>
                <a:gd name="connsiteX8" fmla="*/ 906780 w 1478280"/>
                <a:gd name="connsiteY8" fmla="*/ 1767840 h 2004060"/>
                <a:gd name="connsiteX9" fmla="*/ 975360 w 1478280"/>
                <a:gd name="connsiteY9" fmla="*/ 1767840 h 2004060"/>
                <a:gd name="connsiteX10" fmla="*/ 1085850 w 1478280"/>
                <a:gd name="connsiteY10" fmla="*/ 1676400 h 2004060"/>
                <a:gd name="connsiteX11" fmla="*/ 1097280 w 1478280"/>
                <a:gd name="connsiteY11" fmla="*/ 1642110 h 2004060"/>
                <a:gd name="connsiteX12" fmla="*/ 1200150 w 1478280"/>
                <a:gd name="connsiteY12" fmla="*/ 1657350 h 2004060"/>
                <a:gd name="connsiteX13" fmla="*/ 1386840 w 1478280"/>
                <a:gd name="connsiteY13" fmla="*/ 1756410 h 2004060"/>
                <a:gd name="connsiteX14" fmla="*/ 1447800 w 1478280"/>
                <a:gd name="connsiteY14" fmla="*/ 1714500 h 2004060"/>
                <a:gd name="connsiteX15" fmla="*/ 1402080 w 1478280"/>
                <a:gd name="connsiteY15" fmla="*/ 1653540 h 2004060"/>
                <a:gd name="connsiteX16" fmla="*/ 1344930 w 1478280"/>
                <a:gd name="connsiteY16" fmla="*/ 1653540 h 2004060"/>
                <a:gd name="connsiteX17" fmla="*/ 1344930 w 1478280"/>
                <a:gd name="connsiteY17" fmla="*/ 1584960 h 2004060"/>
                <a:gd name="connsiteX18" fmla="*/ 1360170 w 1478280"/>
                <a:gd name="connsiteY18" fmla="*/ 1394460 h 2004060"/>
                <a:gd name="connsiteX19" fmla="*/ 1314450 w 1478280"/>
                <a:gd name="connsiteY19" fmla="*/ 1283970 h 2004060"/>
                <a:gd name="connsiteX20" fmla="*/ 1432560 w 1478280"/>
                <a:gd name="connsiteY20" fmla="*/ 1123950 h 2004060"/>
                <a:gd name="connsiteX21" fmla="*/ 1478280 w 1478280"/>
                <a:gd name="connsiteY21" fmla="*/ 1009650 h 2004060"/>
                <a:gd name="connsiteX22" fmla="*/ 1348740 w 1478280"/>
                <a:gd name="connsiteY22" fmla="*/ 1009650 h 2004060"/>
                <a:gd name="connsiteX23" fmla="*/ 1207770 w 1478280"/>
                <a:gd name="connsiteY23" fmla="*/ 864870 h 2004060"/>
                <a:gd name="connsiteX24" fmla="*/ 1089660 w 1478280"/>
                <a:gd name="connsiteY24" fmla="*/ 746760 h 2004060"/>
                <a:gd name="connsiteX25" fmla="*/ 1017270 w 1478280"/>
                <a:gd name="connsiteY25" fmla="*/ 727710 h 2004060"/>
                <a:gd name="connsiteX26" fmla="*/ 1017270 w 1478280"/>
                <a:gd name="connsiteY26" fmla="*/ 521970 h 2004060"/>
                <a:gd name="connsiteX27" fmla="*/ 925830 w 1478280"/>
                <a:gd name="connsiteY27" fmla="*/ 415290 h 2004060"/>
                <a:gd name="connsiteX28" fmla="*/ 929640 w 1478280"/>
                <a:gd name="connsiteY28" fmla="*/ 361950 h 2004060"/>
                <a:gd name="connsiteX29" fmla="*/ 967740 w 1478280"/>
                <a:gd name="connsiteY29" fmla="*/ 320040 h 2004060"/>
                <a:gd name="connsiteX30" fmla="*/ 895350 w 1478280"/>
                <a:gd name="connsiteY30" fmla="*/ 304800 h 2004060"/>
                <a:gd name="connsiteX31" fmla="*/ 842010 w 1478280"/>
                <a:gd name="connsiteY31" fmla="*/ 274320 h 2004060"/>
                <a:gd name="connsiteX32" fmla="*/ 651510 w 1478280"/>
                <a:gd name="connsiteY32" fmla="*/ 354330 h 2004060"/>
                <a:gd name="connsiteX33" fmla="*/ 617220 w 1478280"/>
                <a:gd name="connsiteY33" fmla="*/ 331470 h 2004060"/>
                <a:gd name="connsiteX34" fmla="*/ 575310 w 1478280"/>
                <a:gd name="connsiteY34" fmla="*/ 373380 h 2004060"/>
                <a:gd name="connsiteX35" fmla="*/ 521970 w 1478280"/>
                <a:gd name="connsiteY35" fmla="*/ 361950 h 2004060"/>
                <a:gd name="connsiteX36" fmla="*/ 453390 w 1478280"/>
                <a:gd name="connsiteY36" fmla="*/ 209550 h 2004060"/>
                <a:gd name="connsiteX37" fmla="*/ 434340 w 1478280"/>
                <a:gd name="connsiteY37" fmla="*/ 182880 h 2004060"/>
                <a:gd name="connsiteX38" fmla="*/ 384810 w 1478280"/>
                <a:gd name="connsiteY38" fmla="*/ 171450 h 2004060"/>
                <a:gd name="connsiteX39" fmla="*/ 342900 w 1478280"/>
                <a:gd name="connsiteY39" fmla="*/ 140970 h 2004060"/>
                <a:gd name="connsiteX40" fmla="*/ 339090 w 1478280"/>
                <a:gd name="connsiteY40" fmla="*/ 0 h 2004060"/>
                <a:gd name="connsiteX41" fmla="*/ 312420 w 1478280"/>
                <a:gd name="connsiteY41" fmla="*/ 0 h 2004060"/>
                <a:gd name="connsiteX42" fmla="*/ 236220 w 1478280"/>
                <a:gd name="connsiteY42" fmla="*/ 64770 h 2004060"/>
                <a:gd name="connsiteX43" fmla="*/ 167640 w 1478280"/>
                <a:gd name="connsiteY43" fmla="*/ 83820 h 2004060"/>
                <a:gd name="connsiteX44" fmla="*/ 129540 w 1478280"/>
                <a:gd name="connsiteY44" fmla="*/ 99060 h 2004060"/>
                <a:gd name="connsiteX45" fmla="*/ 152400 w 1478280"/>
                <a:gd name="connsiteY45" fmla="*/ 232410 h 2004060"/>
                <a:gd name="connsiteX46" fmla="*/ 121920 w 1478280"/>
                <a:gd name="connsiteY46" fmla="*/ 342900 h 2004060"/>
                <a:gd name="connsiteX47" fmla="*/ 0 w 1478280"/>
                <a:gd name="connsiteY47" fmla="*/ 529590 h 2004060"/>
                <a:gd name="connsiteX48" fmla="*/ 45720 w 1478280"/>
                <a:gd name="connsiteY48" fmla="*/ 579120 h 2004060"/>
                <a:gd name="connsiteX49" fmla="*/ 68580 w 1478280"/>
                <a:gd name="connsiteY49" fmla="*/ 636270 h 2004060"/>
                <a:gd name="connsiteX50" fmla="*/ 129540 w 1478280"/>
                <a:gd name="connsiteY50" fmla="*/ 636270 h 2004060"/>
                <a:gd name="connsiteX51" fmla="*/ 186690 w 1478280"/>
                <a:gd name="connsiteY51" fmla="*/ 681990 h 2004060"/>
                <a:gd name="connsiteX52" fmla="*/ 232410 w 1478280"/>
                <a:gd name="connsiteY52" fmla="*/ 670560 h 2004060"/>
                <a:gd name="connsiteX53" fmla="*/ 278130 w 1478280"/>
                <a:gd name="connsiteY53" fmla="*/ 605790 h 2004060"/>
                <a:gd name="connsiteX54" fmla="*/ 308610 w 1478280"/>
                <a:gd name="connsiteY54" fmla="*/ 598170 h 2004060"/>
                <a:gd name="connsiteX55" fmla="*/ 350520 w 1478280"/>
                <a:gd name="connsiteY55" fmla="*/ 670560 h 2004060"/>
                <a:gd name="connsiteX56" fmla="*/ 388620 w 1478280"/>
                <a:gd name="connsiteY56" fmla="*/ 742950 h 2004060"/>
                <a:gd name="connsiteX57" fmla="*/ 396240 w 1478280"/>
                <a:gd name="connsiteY57" fmla="*/ 781050 h 2004060"/>
                <a:gd name="connsiteX58" fmla="*/ 335280 w 1478280"/>
                <a:gd name="connsiteY58" fmla="*/ 910590 h 2004060"/>
                <a:gd name="connsiteX59" fmla="*/ 377190 w 1478280"/>
                <a:gd name="connsiteY59" fmla="*/ 998220 h 2004060"/>
                <a:gd name="connsiteX60" fmla="*/ 381000 w 1478280"/>
                <a:gd name="connsiteY60" fmla="*/ 1093470 h 2004060"/>
                <a:gd name="connsiteX61" fmla="*/ 457200 w 1478280"/>
                <a:gd name="connsiteY61" fmla="*/ 1200150 h 2004060"/>
                <a:gd name="connsiteX62" fmla="*/ 472440 w 1478280"/>
                <a:gd name="connsiteY62" fmla="*/ 1363980 h 2004060"/>
                <a:gd name="connsiteX63" fmla="*/ 430530 w 1478280"/>
                <a:gd name="connsiteY63" fmla="*/ 1428750 h 2004060"/>
                <a:gd name="connsiteX64" fmla="*/ 441960 w 1478280"/>
                <a:gd name="connsiteY64" fmla="*/ 1539240 h 2004060"/>
                <a:gd name="connsiteX65" fmla="*/ 373380 w 1478280"/>
                <a:gd name="connsiteY65" fmla="*/ 1623060 h 2004060"/>
                <a:gd name="connsiteX66" fmla="*/ 339090 w 1478280"/>
                <a:gd name="connsiteY66" fmla="*/ 1725930 h 2004060"/>
                <a:gd name="connsiteX67" fmla="*/ 354330 w 1478280"/>
                <a:gd name="connsiteY67" fmla="*/ 1798320 h 2004060"/>
                <a:gd name="connsiteX68" fmla="*/ 312420 w 1478280"/>
                <a:gd name="connsiteY68" fmla="*/ 1851660 h 2004060"/>
                <a:gd name="connsiteX69" fmla="*/ 297180 w 1478280"/>
                <a:gd name="connsiteY69" fmla="*/ 1901190 h 2004060"/>
                <a:gd name="connsiteX70" fmla="*/ 346710 w 1478280"/>
                <a:gd name="connsiteY70" fmla="*/ 1924050 h 200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478280" h="2004060">
                  <a:moveTo>
                    <a:pt x="346710" y="1924050"/>
                  </a:moveTo>
                  <a:lnTo>
                    <a:pt x="480060" y="2004060"/>
                  </a:lnTo>
                  <a:lnTo>
                    <a:pt x="525780" y="1985010"/>
                  </a:lnTo>
                  <a:lnTo>
                    <a:pt x="537210" y="1920240"/>
                  </a:lnTo>
                  <a:lnTo>
                    <a:pt x="678180" y="1905000"/>
                  </a:lnTo>
                  <a:lnTo>
                    <a:pt x="746760" y="1863090"/>
                  </a:lnTo>
                  <a:lnTo>
                    <a:pt x="822960" y="1767840"/>
                  </a:lnTo>
                  <a:lnTo>
                    <a:pt x="876300" y="1809750"/>
                  </a:lnTo>
                  <a:lnTo>
                    <a:pt x="906780" y="1767840"/>
                  </a:lnTo>
                  <a:lnTo>
                    <a:pt x="975360" y="1767840"/>
                  </a:lnTo>
                  <a:lnTo>
                    <a:pt x="1085850" y="1676400"/>
                  </a:lnTo>
                  <a:lnTo>
                    <a:pt x="1097280" y="1642110"/>
                  </a:lnTo>
                  <a:lnTo>
                    <a:pt x="1200150" y="1657350"/>
                  </a:lnTo>
                  <a:lnTo>
                    <a:pt x="1386840" y="1756410"/>
                  </a:lnTo>
                  <a:lnTo>
                    <a:pt x="1447800" y="1714500"/>
                  </a:lnTo>
                  <a:lnTo>
                    <a:pt x="1402080" y="1653540"/>
                  </a:lnTo>
                  <a:lnTo>
                    <a:pt x="1344930" y="1653540"/>
                  </a:lnTo>
                  <a:lnTo>
                    <a:pt x="1344930" y="1584960"/>
                  </a:lnTo>
                  <a:lnTo>
                    <a:pt x="1360170" y="1394460"/>
                  </a:lnTo>
                  <a:lnTo>
                    <a:pt x="1314450" y="1283970"/>
                  </a:lnTo>
                  <a:lnTo>
                    <a:pt x="1432560" y="1123950"/>
                  </a:lnTo>
                  <a:lnTo>
                    <a:pt x="1478280" y="1009650"/>
                  </a:lnTo>
                  <a:lnTo>
                    <a:pt x="1348740" y="1009650"/>
                  </a:lnTo>
                  <a:lnTo>
                    <a:pt x="1207770" y="864870"/>
                  </a:lnTo>
                  <a:lnTo>
                    <a:pt x="1089660" y="746760"/>
                  </a:lnTo>
                  <a:lnTo>
                    <a:pt x="1017270" y="727710"/>
                  </a:lnTo>
                  <a:lnTo>
                    <a:pt x="1017270" y="521970"/>
                  </a:lnTo>
                  <a:lnTo>
                    <a:pt x="925830" y="415290"/>
                  </a:lnTo>
                  <a:lnTo>
                    <a:pt x="929640" y="361950"/>
                  </a:lnTo>
                  <a:lnTo>
                    <a:pt x="967740" y="320040"/>
                  </a:lnTo>
                  <a:lnTo>
                    <a:pt x="895350" y="304800"/>
                  </a:lnTo>
                  <a:lnTo>
                    <a:pt x="842010" y="274320"/>
                  </a:lnTo>
                  <a:lnTo>
                    <a:pt x="651510" y="354330"/>
                  </a:lnTo>
                  <a:lnTo>
                    <a:pt x="617220" y="331470"/>
                  </a:lnTo>
                  <a:lnTo>
                    <a:pt x="575310" y="373380"/>
                  </a:lnTo>
                  <a:lnTo>
                    <a:pt x="521970" y="361950"/>
                  </a:lnTo>
                  <a:lnTo>
                    <a:pt x="453390" y="209550"/>
                  </a:lnTo>
                  <a:lnTo>
                    <a:pt x="434340" y="182880"/>
                  </a:lnTo>
                  <a:lnTo>
                    <a:pt x="384810" y="171450"/>
                  </a:lnTo>
                  <a:lnTo>
                    <a:pt x="342900" y="140970"/>
                  </a:lnTo>
                  <a:lnTo>
                    <a:pt x="339090" y="0"/>
                  </a:lnTo>
                  <a:lnTo>
                    <a:pt x="312420" y="0"/>
                  </a:lnTo>
                  <a:lnTo>
                    <a:pt x="236220" y="64770"/>
                  </a:lnTo>
                  <a:lnTo>
                    <a:pt x="167640" y="83820"/>
                  </a:lnTo>
                  <a:lnTo>
                    <a:pt x="129540" y="99060"/>
                  </a:lnTo>
                  <a:lnTo>
                    <a:pt x="152400" y="232410"/>
                  </a:lnTo>
                  <a:lnTo>
                    <a:pt x="121920" y="342900"/>
                  </a:lnTo>
                  <a:lnTo>
                    <a:pt x="0" y="529590"/>
                  </a:lnTo>
                  <a:lnTo>
                    <a:pt x="45720" y="579120"/>
                  </a:lnTo>
                  <a:lnTo>
                    <a:pt x="68580" y="636270"/>
                  </a:lnTo>
                  <a:lnTo>
                    <a:pt x="129540" y="636270"/>
                  </a:lnTo>
                  <a:lnTo>
                    <a:pt x="186690" y="681990"/>
                  </a:lnTo>
                  <a:lnTo>
                    <a:pt x="232410" y="670560"/>
                  </a:lnTo>
                  <a:lnTo>
                    <a:pt x="278130" y="605790"/>
                  </a:lnTo>
                  <a:lnTo>
                    <a:pt x="308610" y="598170"/>
                  </a:lnTo>
                  <a:lnTo>
                    <a:pt x="350520" y="670560"/>
                  </a:lnTo>
                  <a:lnTo>
                    <a:pt x="388620" y="742950"/>
                  </a:lnTo>
                  <a:lnTo>
                    <a:pt x="396240" y="781050"/>
                  </a:lnTo>
                  <a:lnTo>
                    <a:pt x="335280" y="910590"/>
                  </a:lnTo>
                  <a:lnTo>
                    <a:pt x="377190" y="998220"/>
                  </a:lnTo>
                  <a:lnTo>
                    <a:pt x="381000" y="1093470"/>
                  </a:lnTo>
                  <a:lnTo>
                    <a:pt x="457200" y="1200150"/>
                  </a:lnTo>
                  <a:lnTo>
                    <a:pt x="472440" y="1363980"/>
                  </a:lnTo>
                  <a:lnTo>
                    <a:pt x="430530" y="1428750"/>
                  </a:lnTo>
                  <a:lnTo>
                    <a:pt x="441960" y="1539240"/>
                  </a:lnTo>
                  <a:lnTo>
                    <a:pt x="373380" y="1623060"/>
                  </a:lnTo>
                  <a:lnTo>
                    <a:pt x="339090" y="1725930"/>
                  </a:lnTo>
                  <a:lnTo>
                    <a:pt x="354330" y="1798320"/>
                  </a:lnTo>
                  <a:lnTo>
                    <a:pt x="312420" y="1851660"/>
                  </a:lnTo>
                  <a:lnTo>
                    <a:pt x="297180" y="1901190"/>
                  </a:lnTo>
                  <a:lnTo>
                    <a:pt x="346710" y="192405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6" name="任意多边形 85"/>
            <p:cNvSpPr/>
            <p:nvPr/>
          </p:nvSpPr>
          <p:spPr bwMode="gray">
            <a:xfrm>
              <a:off x="2533389" y="4682709"/>
              <a:ext cx="764732" cy="897728"/>
            </a:xfrm>
            <a:custGeom>
              <a:avLst/>
              <a:gdLst>
                <a:gd name="connsiteX0" fmla="*/ 1007745 w 1007745"/>
                <a:gd name="connsiteY0" fmla="*/ 299085 h 1183005"/>
                <a:gd name="connsiteX1" fmla="*/ 967740 w 1007745"/>
                <a:gd name="connsiteY1" fmla="*/ 228600 h 1183005"/>
                <a:gd name="connsiteX2" fmla="*/ 885825 w 1007745"/>
                <a:gd name="connsiteY2" fmla="*/ 190500 h 1183005"/>
                <a:gd name="connsiteX3" fmla="*/ 832485 w 1007745"/>
                <a:gd name="connsiteY3" fmla="*/ 161925 h 1183005"/>
                <a:gd name="connsiteX4" fmla="*/ 796290 w 1007745"/>
                <a:gd name="connsiteY4" fmla="*/ 55245 h 1183005"/>
                <a:gd name="connsiteX5" fmla="*/ 733425 w 1007745"/>
                <a:gd name="connsiteY5" fmla="*/ 0 h 1183005"/>
                <a:gd name="connsiteX6" fmla="*/ 685800 w 1007745"/>
                <a:gd name="connsiteY6" fmla="*/ 49530 h 1183005"/>
                <a:gd name="connsiteX7" fmla="*/ 689610 w 1007745"/>
                <a:gd name="connsiteY7" fmla="*/ 142875 h 1183005"/>
                <a:gd name="connsiteX8" fmla="*/ 685800 w 1007745"/>
                <a:gd name="connsiteY8" fmla="*/ 165735 h 1183005"/>
                <a:gd name="connsiteX9" fmla="*/ 598170 w 1007745"/>
                <a:gd name="connsiteY9" fmla="*/ 152400 h 1183005"/>
                <a:gd name="connsiteX10" fmla="*/ 544830 w 1007745"/>
                <a:gd name="connsiteY10" fmla="*/ 165735 h 1183005"/>
                <a:gd name="connsiteX11" fmla="*/ 533400 w 1007745"/>
                <a:gd name="connsiteY11" fmla="*/ 215265 h 1183005"/>
                <a:gd name="connsiteX12" fmla="*/ 508635 w 1007745"/>
                <a:gd name="connsiteY12" fmla="*/ 236220 h 1183005"/>
                <a:gd name="connsiteX13" fmla="*/ 438150 w 1007745"/>
                <a:gd name="connsiteY13" fmla="*/ 230505 h 1183005"/>
                <a:gd name="connsiteX14" fmla="*/ 281940 w 1007745"/>
                <a:gd name="connsiteY14" fmla="*/ 306705 h 1183005"/>
                <a:gd name="connsiteX15" fmla="*/ 144780 w 1007745"/>
                <a:gd name="connsiteY15" fmla="*/ 455295 h 1183005"/>
                <a:gd name="connsiteX16" fmla="*/ 30480 w 1007745"/>
                <a:gd name="connsiteY16" fmla="*/ 643890 h 1183005"/>
                <a:gd name="connsiteX17" fmla="*/ 0 w 1007745"/>
                <a:gd name="connsiteY17" fmla="*/ 714375 h 1183005"/>
                <a:gd name="connsiteX18" fmla="*/ 11430 w 1007745"/>
                <a:gd name="connsiteY18" fmla="*/ 777240 h 1183005"/>
                <a:gd name="connsiteX19" fmla="*/ 97155 w 1007745"/>
                <a:gd name="connsiteY19" fmla="*/ 796290 h 1183005"/>
                <a:gd name="connsiteX20" fmla="*/ 114300 w 1007745"/>
                <a:gd name="connsiteY20" fmla="*/ 840105 h 1183005"/>
                <a:gd name="connsiteX21" fmla="*/ 108585 w 1007745"/>
                <a:gd name="connsiteY21" fmla="*/ 979170 h 1183005"/>
                <a:gd name="connsiteX22" fmla="*/ 118110 w 1007745"/>
                <a:gd name="connsiteY22" fmla="*/ 1139190 h 1183005"/>
                <a:gd name="connsiteX23" fmla="*/ 177165 w 1007745"/>
                <a:gd name="connsiteY23" fmla="*/ 1183005 h 1183005"/>
                <a:gd name="connsiteX24" fmla="*/ 205740 w 1007745"/>
                <a:gd name="connsiteY24" fmla="*/ 1167765 h 1183005"/>
                <a:gd name="connsiteX25" fmla="*/ 194310 w 1007745"/>
                <a:gd name="connsiteY25" fmla="*/ 1097280 h 1183005"/>
                <a:gd name="connsiteX26" fmla="*/ 310515 w 1007745"/>
                <a:gd name="connsiteY26" fmla="*/ 1042035 h 1183005"/>
                <a:gd name="connsiteX27" fmla="*/ 381000 w 1007745"/>
                <a:gd name="connsiteY27" fmla="*/ 982980 h 1183005"/>
                <a:gd name="connsiteX28" fmla="*/ 443865 w 1007745"/>
                <a:gd name="connsiteY28" fmla="*/ 971550 h 1183005"/>
                <a:gd name="connsiteX29" fmla="*/ 466725 w 1007745"/>
                <a:gd name="connsiteY29" fmla="*/ 1003935 h 1183005"/>
                <a:gd name="connsiteX30" fmla="*/ 472440 w 1007745"/>
                <a:gd name="connsiteY30" fmla="*/ 1030605 h 1183005"/>
                <a:gd name="connsiteX31" fmla="*/ 529590 w 1007745"/>
                <a:gd name="connsiteY31" fmla="*/ 1030605 h 1183005"/>
                <a:gd name="connsiteX32" fmla="*/ 544830 w 1007745"/>
                <a:gd name="connsiteY32" fmla="*/ 1080135 h 1183005"/>
                <a:gd name="connsiteX33" fmla="*/ 617220 w 1007745"/>
                <a:gd name="connsiteY33" fmla="*/ 1059180 h 1183005"/>
                <a:gd name="connsiteX34" fmla="*/ 655320 w 1007745"/>
                <a:gd name="connsiteY34" fmla="*/ 1024890 h 1183005"/>
                <a:gd name="connsiteX35" fmla="*/ 714375 w 1007745"/>
                <a:gd name="connsiteY35" fmla="*/ 1024890 h 1183005"/>
                <a:gd name="connsiteX36" fmla="*/ 758190 w 1007745"/>
                <a:gd name="connsiteY36" fmla="*/ 1066800 h 1183005"/>
                <a:gd name="connsiteX37" fmla="*/ 802005 w 1007745"/>
                <a:gd name="connsiteY37" fmla="*/ 1068705 h 1183005"/>
                <a:gd name="connsiteX38" fmla="*/ 819150 w 1007745"/>
                <a:gd name="connsiteY38" fmla="*/ 982980 h 1183005"/>
                <a:gd name="connsiteX39" fmla="*/ 819150 w 1007745"/>
                <a:gd name="connsiteY39" fmla="*/ 922020 h 1183005"/>
                <a:gd name="connsiteX40" fmla="*/ 897255 w 1007745"/>
                <a:gd name="connsiteY40" fmla="*/ 878205 h 1183005"/>
                <a:gd name="connsiteX41" fmla="*/ 901065 w 1007745"/>
                <a:gd name="connsiteY41" fmla="*/ 832485 h 1183005"/>
                <a:gd name="connsiteX42" fmla="*/ 832485 w 1007745"/>
                <a:gd name="connsiteY42" fmla="*/ 798195 h 1183005"/>
                <a:gd name="connsiteX43" fmla="*/ 809625 w 1007745"/>
                <a:gd name="connsiteY43" fmla="*/ 782955 h 1183005"/>
                <a:gd name="connsiteX44" fmla="*/ 792480 w 1007745"/>
                <a:gd name="connsiteY44" fmla="*/ 695325 h 1183005"/>
                <a:gd name="connsiteX45" fmla="*/ 718185 w 1007745"/>
                <a:gd name="connsiteY45" fmla="*/ 643890 h 1183005"/>
                <a:gd name="connsiteX46" fmla="*/ 666750 w 1007745"/>
                <a:gd name="connsiteY46" fmla="*/ 592455 h 1183005"/>
                <a:gd name="connsiteX47" fmla="*/ 659130 w 1007745"/>
                <a:gd name="connsiteY47" fmla="*/ 518160 h 1183005"/>
                <a:gd name="connsiteX48" fmla="*/ 699135 w 1007745"/>
                <a:gd name="connsiteY48" fmla="*/ 466725 h 1183005"/>
                <a:gd name="connsiteX49" fmla="*/ 762000 w 1007745"/>
                <a:gd name="connsiteY49" fmla="*/ 443865 h 1183005"/>
                <a:gd name="connsiteX50" fmla="*/ 838200 w 1007745"/>
                <a:gd name="connsiteY50" fmla="*/ 432435 h 1183005"/>
                <a:gd name="connsiteX51" fmla="*/ 904875 w 1007745"/>
                <a:gd name="connsiteY51" fmla="*/ 419100 h 1183005"/>
                <a:gd name="connsiteX52" fmla="*/ 931545 w 1007745"/>
                <a:gd name="connsiteY52" fmla="*/ 375285 h 1183005"/>
                <a:gd name="connsiteX53" fmla="*/ 1007745 w 1007745"/>
                <a:gd name="connsiteY53" fmla="*/ 299085 h 118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007745" h="1183005">
                  <a:moveTo>
                    <a:pt x="1007745" y="299085"/>
                  </a:moveTo>
                  <a:lnTo>
                    <a:pt x="967740" y="228600"/>
                  </a:lnTo>
                  <a:lnTo>
                    <a:pt x="885825" y="190500"/>
                  </a:lnTo>
                  <a:lnTo>
                    <a:pt x="832485" y="161925"/>
                  </a:lnTo>
                  <a:lnTo>
                    <a:pt x="796290" y="55245"/>
                  </a:lnTo>
                  <a:lnTo>
                    <a:pt x="733425" y="0"/>
                  </a:lnTo>
                  <a:lnTo>
                    <a:pt x="685800" y="49530"/>
                  </a:lnTo>
                  <a:lnTo>
                    <a:pt x="689610" y="142875"/>
                  </a:lnTo>
                  <a:lnTo>
                    <a:pt x="685800" y="165735"/>
                  </a:lnTo>
                  <a:lnTo>
                    <a:pt x="598170" y="152400"/>
                  </a:lnTo>
                  <a:lnTo>
                    <a:pt x="544830" y="165735"/>
                  </a:lnTo>
                  <a:lnTo>
                    <a:pt x="533400" y="215265"/>
                  </a:lnTo>
                  <a:lnTo>
                    <a:pt x="508635" y="236220"/>
                  </a:lnTo>
                  <a:lnTo>
                    <a:pt x="438150" y="230505"/>
                  </a:lnTo>
                  <a:lnTo>
                    <a:pt x="281940" y="306705"/>
                  </a:lnTo>
                  <a:lnTo>
                    <a:pt x="144780" y="455295"/>
                  </a:lnTo>
                  <a:lnTo>
                    <a:pt x="30480" y="643890"/>
                  </a:lnTo>
                  <a:lnTo>
                    <a:pt x="0" y="714375"/>
                  </a:lnTo>
                  <a:lnTo>
                    <a:pt x="11430" y="777240"/>
                  </a:lnTo>
                  <a:lnTo>
                    <a:pt x="97155" y="796290"/>
                  </a:lnTo>
                  <a:lnTo>
                    <a:pt x="114300" y="840105"/>
                  </a:lnTo>
                  <a:lnTo>
                    <a:pt x="108585" y="979170"/>
                  </a:lnTo>
                  <a:lnTo>
                    <a:pt x="118110" y="1139190"/>
                  </a:lnTo>
                  <a:lnTo>
                    <a:pt x="177165" y="1183005"/>
                  </a:lnTo>
                  <a:lnTo>
                    <a:pt x="205740" y="1167765"/>
                  </a:lnTo>
                  <a:lnTo>
                    <a:pt x="194310" y="1097280"/>
                  </a:lnTo>
                  <a:lnTo>
                    <a:pt x="310515" y="1042035"/>
                  </a:lnTo>
                  <a:lnTo>
                    <a:pt x="381000" y="982980"/>
                  </a:lnTo>
                  <a:lnTo>
                    <a:pt x="443865" y="971550"/>
                  </a:lnTo>
                  <a:lnTo>
                    <a:pt x="466725" y="1003935"/>
                  </a:lnTo>
                  <a:lnTo>
                    <a:pt x="472440" y="1030605"/>
                  </a:lnTo>
                  <a:lnTo>
                    <a:pt x="529590" y="1030605"/>
                  </a:lnTo>
                  <a:lnTo>
                    <a:pt x="544830" y="1080135"/>
                  </a:lnTo>
                  <a:lnTo>
                    <a:pt x="617220" y="1059180"/>
                  </a:lnTo>
                  <a:lnTo>
                    <a:pt x="655320" y="1024890"/>
                  </a:lnTo>
                  <a:lnTo>
                    <a:pt x="714375" y="1024890"/>
                  </a:lnTo>
                  <a:lnTo>
                    <a:pt x="758190" y="1066800"/>
                  </a:lnTo>
                  <a:lnTo>
                    <a:pt x="802005" y="1068705"/>
                  </a:lnTo>
                  <a:lnTo>
                    <a:pt x="819150" y="982980"/>
                  </a:lnTo>
                  <a:lnTo>
                    <a:pt x="819150" y="922020"/>
                  </a:lnTo>
                  <a:lnTo>
                    <a:pt x="897255" y="878205"/>
                  </a:lnTo>
                  <a:lnTo>
                    <a:pt x="901065" y="832485"/>
                  </a:lnTo>
                  <a:lnTo>
                    <a:pt x="832485" y="798195"/>
                  </a:lnTo>
                  <a:lnTo>
                    <a:pt x="809625" y="782955"/>
                  </a:lnTo>
                  <a:lnTo>
                    <a:pt x="792480" y="695325"/>
                  </a:lnTo>
                  <a:lnTo>
                    <a:pt x="718185" y="643890"/>
                  </a:lnTo>
                  <a:lnTo>
                    <a:pt x="666750" y="592455"/>
                  </a:lnTo>
                  <a:lnTo>
                    <a:pt x="659130" y="518160"/>
                  </a:lnTo>
                  <a:lnTo>
                    <a:pt x="699135" y="466725"/>
                  </a:lnTo>
                  <a:lnTo>
                    <a:pt x="762000" y="443865"/>
                  </a:lnTo>
                  <a:lnTo>
                    <a:pt x="838200" y="432435"/>
                  </a:lnTo>
                  <a:lnTo>
                    <a:pt x="904875" y="419100"/>
                  </a:lnTo>
                  <a:lnTo>
                    <a:pt x="931545" y="375285"/>
                  </a:lnTo>
                  <a:lnTo>
                    <a:pt x="1007745" y="299085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7" name="任意多边形 86"/>
            <p:cNvSpPr/>
            <p:nvPr/>
          </p:nvSpPr>
          <p:spPr bwMode="gray">
            <a:xfrm>
              <a:off x="3089995" y="3900455"/>
              <a:ext cx="1158246" cy="1137219"/>
            </a:xfrm>
            <a:custGeom>
              <a:avLst/>
              <a:gdLst>
                <a:gd name="connsiteX0" fmla="*/ 0 w 1526309"/>
                <a:gd name="connsiteY0" fmla="*/ 1025236 h 1498600"/>
                <a:gd name="connsiteX1" fmla="*/ 64654 w 1526309"/>
                <a:gd name="connsiteY1" fmla="*/ 1085273 h 1498600"/>
                <a:gd name="connsiteX2" fmla="*/ 99291 w 1526309"/>
                <a:gd name="connsiteY2" fmla="*/ 1191491 h 1498600"/>
                <a:gd name="connsiteX3" fmla="*/ 226291 w 1526309"/>
                <a:gd name="connsiteY3" fmla="*/ 1256146 h 1498600"/>
                <a:gd name="connsiteX4" fmla="*/ 277091 w 1526309"/>
                <a:gd name="connsiteY4" fmla="*/ 1332346 h 1498600"/>
                <a:gd name="connsiteX5" fmla="*/ 323272 w 1526309"/>
                <a:gd name="connsiteY5" fmla="*/ 1327727 h 1498600"/>
                <a:gd name="connsiteX6" fmla="*/ 394854 w 1526309"/>
                <a:gd name="connsiteY6" fmla="*/ 1318491 h 1498600"/>
                <a:gd name="connsiteX7" fmla="*/ 484909 w 1526309"/>
                <a:gd name="connsiteY7" fmla="*/ 1387764 h 1498600"/>
                <a:gd name="connsiteX8" fmla="*/ 563418 w 1526309"/>
                <a:gd name="connsiteY8" fmla="*/ 1364673 h 1498600"/>
                <a:gd name="connsiteX9" fmla="*/ 648854 w 1526309"/>
                <a:gd name="connsiteY9" fmla="*/ 1290782 h 1498600"/>
                <a:gd name="connsiteX10" fmla="*/ 692727 w 1526309"/>
                <a:gd name="connsiteY10" fmla="*/ 1260764 h 1498600"/>
                <a:gd name="connsiteX11" fmla="*/ 731982 w 1526309"/>
                <a:gd name="connsiteY11" fmla="*/ 1276927 h 1498600"/>
                <a:gd name="connsiteX12" fmla="*/ 819727 w 1526309"/>
                <a:gd name="connsiteY12" fmla="*/ 1300018 h 1498600"/>
                <a:gd name="connsiteX13" fmla="*/ 886691 w 1526309"/>
                <a:gd name="connsiteY13" fmla="*/ 1332346 h 1498600"/>
                <a:gd name="connsiteX14" fmla="*/ 928254 w 1526309"/>
                <a:gd name="connsiteY14" fmla="*/ 1353127 h 1498600"/>
                <a:gd name="connsiteX15" fmla="*/ 979054 w 1526309"/>
                <a:gd name="connsiteY15" fmla="*/ 1399309 h 1498600"/>
                <a:gd name="connsiteX16" fmla="*/ 1002145 w 1526309"/>
                <a:gd name="connsiteY16" fmla="*/ 1475509 h 1498600"/>
                <a:gd name="connsiteX17" fmla="*/ 1036782 w 1526309"/>
                <a:gd name="connsiteY17" fmla="*/ 1491673 h 1498600"/>
                <a:gd name="connsiteX18" fmla="*/ 1073727 w 1526309"/>
                <a:gd name="connsiteY18" fmla="*/ 1443182 h 1498600"/>
                <a:gd name="connsiteX19" fmla="*/ 1156854 w 1526309"/>
                <a:gd name="connsiteY19" fmla="*/ 1431636 h 1498600"/>
                <a:gd name="connsiteX20" fmla="*/ 1235363 w 1526309"/>
                <a:gd name="connsiteY20" fmla="*/ 1498600 h 1498600"/>
                <a:gd name="connsiteX21" fmla="*/ 1286163 w 1526309"/>
                <a:gd name="connsiteY21" fmla="*/ 1491673 h 1498600"/>
                <a:gd name="connsiteX22" fmla="*/ 1480127 w 1526309"/>
                <a:gd name="connsiteY22" fmla="*/ 1341582 h 1498600"/>
                <a:gd name="connsiteX23" fmla="*/ 1526309 w 1526309"/>
                <a:gd name="connsiteY23" fmla="*/ 1233055 h 1498600"/>
                <a:gd name="connsiteX24" fmla="*/ 1526309 w 1526309"/>
                <a:gd name="connsiteY24" fmla="*/ 1212273 h 1498600"/>
                <a:gd name="connsiteX25" fmla="*/ 1489363 w 1526309"/>
                <a:gd name="connsiteY25" fmla="*/ 1156855 h 1498600"/>
                <a:gd name="connsiteX26" fmla="*/ 1422400 w 1526309"/>
                <a:gd name="connsiteY26" fmla="*/ 1103746 h 1498600"/>
                <a:gd name="connsiteX27" fmla="*/ 1350818 w 1526309"/>
                <a:gd name="connsiteY27" fmla="*/ 1096818 h 1498600"/>
                <a:gd name="connsiteX28" fmla="*/ 1327727 w 1526309"/>
                <a:gd name="connsiteY28" fmla="*/ 1069109 h 1498600"/>
                <a:gd name="connsiteX29" fmla="*/ 1316182 w 1526309"/>
                <a:gd name="connsiteY29" fmla="*/ 930564 h 1498600"/>
                <a:gd name="connsiteX30" fmla="*/ 1288472 w 1526309"/>
                <a:gd name="connsiteY30" fmla="*/ 870527 h 1498600"/>
                <a:gd name="connsiteX31" fmla="*/ 1209963 w 1526309"/>
                <a:gd name="connsiteY31" fmla="*/ 833582 h 1498600"/>
                <a:gd name="connsiteX32" fmla="*/ 1196109 w 1526309"/>
                <a:gd name="connsiteY32" fmla="*/ 822036 h 1498600"/>
                <a:gd name="connsiteX33" fmla="*/ 1177636 w 1526309"/>
                <a:gd name="connsiteY33" fmla="*/ 755073 h 1498600"/>
                <a:gd name="connsiteX34" fmla="*/ 1159163 w 1526309"/>
                <a:gd name="connsiteY34" fmla="*/ 731982 h 1498600"/>
                <a:gd name="connsiteX35" fmla="*/ 1112982 w 1526309"/>
                <a:gd name="connsiteY35" fmla="*/ 713509 h 1498600"/>
                <a:gd name="connsiteX36" fmla="*/ 1071418 w 1526309"/>
                <a:gd name="connsiteY36" fmla="*/ 704273 h 1498600"/>
                <a:gd name="connsiteX37" fmla="*/ 1022927 w 1526309"/>
                <a:gd name="connsiteY37" fmla="*/ 704273 h 1498600"/>
                <a:gd name="connsiteX38" fmla="*/ 944418 w 1526309"/>
                <a:gd name="connsiteY38" fmla="*/ 623455 h 1498600"/>
                <a:gd name="connsiteX39" fmla="*/ 939800 w 1526309"/>
                <a:gd name="connsiteY39" fmla="*/ 616527 h 1498600"/>
                <a:gd name="connsiteX40" fmla="*/ 919018 w 1526309"/>
                <a:gd name="connsiteY40" fmla="*/ 454891 h 1498600"/>
                <a:gd name="connsiteX41" fmla="*/ 789709 w 1526309"/>
                <a:gd name="connsiteY41" fmla="*/ 265546 h 1498600"/>
                <a:gd name="connsiteX42" fmla="*/ 775854 w 1526309"/>
                <a:gd name="connsiteY42" fmla="*/ 117764 h 1498600"/>
                <a:gd name="connsiteX43" fmla="*/ 750454 w 1526309"/>
                <a:gd name="connsiteY43" fmla="*/ 0 h 1498600"/>
                <a:gd name="connsiteX44" fmla="*/ 690418 w 1526309"/>
                <a:gd name="connsiteY44" fmla="*/ 60036 h 1498600"/>
                <a:gd name="connsiteX45" fmla="*/ 641927 w 1526309"/>
                <a:gd name="connsiteY45" fmla="*/ 235527 h 1498600"/>
                <a:gd name="connsiteX46" fmla="*/ 609600 w 1526309"/>
                <a:gd name="connsiteY46" fmla="*/ 260927 h 1498600"/>
                <a:gd name="connsiteX47" fmla="*/ 521854 w 1526309"/>
                <a:gd name="connsiteY47" fmla="*/ 284018 h 1498600"/>
                <a:gd name="connsiteX48" fmla="*/ 473363 w 1526309"/>
                <a:gd name="connsiteY48" fmla="*/ 318655 h 1498600"/>
                <a:gd name="connsiteX49" fmla="*/ 468745 w 1526309"/>
                <a:gd name="connsiteY49" fmla="*/ 390236 h 1498600"/>
                <a:gd name="connsiteX50" fmla="*/ 457200 w 1526309"/>
                <a:gd name="connsiteY50" fmla="*/ 417946 h 1498600"/>
                <a:gd name="connsiteX51" fmla="*/ 413327 w 1526309"/>
                <a:gd name="connsiteY51" fmla="*/ 429491 h 1498600"/>
                <a:gd name="connsiteX52" fmla="*/ 401782 w 1526309"/>
                <a:gd name="connsiteY52" fmla="*/ 429491 h 1498600"/>
                <a:gd name="connsiteX53" fmla="*/ 371763 w 1526309"/>
                <a:gd name="connsiteY53" fmla="*/ 461818 h 1498600"/>
                <a:gd name="connsiteX54" fmla="*/ 357909 w 1526309"/>
                <a:gd name="connsiteY54" fmla="*/ 503382 h 1498600"/>
                <a:gd name="connsiteX55" fmla="*/ 332509 w 1526309"/>
                <a:gd name="connsiteY55" fmla="*/ 533400 h 1498600"/>
                <a:gd name="connsiteX56" fmla="*/ 263236 w 1526309"/>
                <a:gd name="connsiteY56" fmla="*/ 563418 h 1498600"/>
                <a:gd name="connsiteX57" fmla="*/ 242454 w 1526309"/>
                <a:gd name="connsiteY57" fmla="*/ 604982 h 1498600"/>
                <a:gd name="connsiteX58" fmla="*/ 281709 w 1526309"/>
                <a:gd name="connsiteY58" fmla="*/ 637309 h 1498600"/>
                <a:gd name="connsiteX59" fmla="*/ 309418 w 1526309"/>
                <a:gd name="connsiteY59" fmla="*/ 671946 h 1498600"/>
                <a:gd name="connsiteX60" fmla="*/ 270163 w 1526309"/>
                <a:gd name="connsiteY60" fmla="*/ 688109 h 1498600"/>
                <a:gd name="connsiteX61" fmla="*/ 240145 w 1526309"/>
                <a:gd name="connsiteY61" fmla="*/ 685800 h 1498600"/>
                <a:gd name="connsiteX62" fmla="*/ 214745 w 1526309"/>
                <a:gd name="connsiteY62" fmla="*/ 706582 h 1498600"/>
                <a:gd name="connsiteX63" fmla="*/ 217054 w 1526309"/>
                <a:gd name="connsiteY63" fmla="*/ 736600 h 1498600"/>
                <a:gd name="connsiteX64" fmla="*/ 254000 w 1526309"/>
                <a:gd name="connsiteY64" fmla="*/ 750455 h 1498600"/>
                <a:gd name="connsiteX65" fmla="*/ 258618 w 1526309"/>
                <a:gd name="connsiteY65" fmla="*/ 766618 h 1498600"/>
                <a:gd name="connsiteX66" fmla="*/ 270163 w 1526309"/>
                <a:gd name="connsiteY66" fmla="*/ 854364 h 1498600"/>
                <a:gd name="connsiteX67" fmla="*/ 256309 w 1526309"/>
                <a:gd name="connsiteY67" fmla="*/ 914400 h 1498600"/>
                <a:gd name="connsiteX68" fmla="*/ 175491 w 1526309"/>
                <a:gd name="connsiteY68" fmla="*/ 944418 h 1498600"/>
                <a:gd name="connsiteX69" fmla="*/ 32327 w 1526309"/>
                <a:gd name="connsiteY69" fmla="*/ 981364 h 1498600"/>
                <a:gd name="connsiteX70" fmla="*/ 0 w 1526309"/>
                <a:gd name="connsiteY70" fmla="*/ 1025236 h 149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526309" h="1498600">
                  <a:moveTo>
                    <a:pt x="0" y="1025236"/>
                  </a:moveTo>
                  <a:lnTo>
                    <a:pt x="64654" y="1085273"/>
                  </a:lnTo>
                  <a:lnTo>
                    <a:pt x="99291" y="1191491"/>
                  </a:lnTo>
                  <a:lnTo>
                    <a:pt x="226291" y="1256146"/>
                  </a:lnTo>
                  <a:lnTo>
                    <a:pt x="277091" y="1332346"/>
                  </a:lnTo>
                  <a:lnTo>
                    <a:pt x="323272" y="1327727"/>
                  </a:lnTo>
                  <a:lnTo>
                    <a:pt x="394854" y="1318491"/>
                  </a:lnTo>
                  <a:lnTo>
                    <a:pt x="484909" y="1387764"/>
                  </a:lnTo>
                  <a:lnTo>
                    <a:pt x="563418" y="1364673"/>
                  </a:lnTo>
                  <a:lnTo>
                    <a:pt x="648854" y="1290782"/>
                  </a:lnTo>
                  <a:lnTo>
                    <a:pt x="692727" y="1260764"/>
                  </a:lnTo>
                  <a:lnTo>
                    <a:pt x="731982" y="1276927"/>
                  </a:lnTo>
                  <a:lnTo>
                    <a:pt x="819727" y="1300018"/>
                  </a:lnTo>
                  <a:lnTo>
                    <a:pt x="886691" y="1332346"/>
                  </a:lnTo>
                  <a:lnTo>
                    <a:pt x="928254" y="1353127"/>
                  </a:lnTo>
                  <a:lnTo>
                    <a:pt x="979054" y="1399309"/>
                  </a:lnTo>
                  <a:lnTo>
                    <a:pt x="1002145" y="1475509"/>
                  </a:lnTo>
                  <a:lnTo>
                    <a:pt x="1036782" y="1491673"/>
                  </a:lnTo>
                  <a:lnTo>
                    <a:pt x="1073727" y="1443182"/>
                  </a:lnTo>
                  <a:lnTo>
                    <a:pt x="1156854" y="1431636"/>
                  </a:lnTo>
                  <a:lnTo>
                    <a:pt x="1235363" y="1498600"/>
                  </a:lnTo>
                  <a:lnTo>
                    <a:pt x="1286163" y="1491673"/>
                  </a:lnTo>
                  <a:lnTo>
                    <a:pt x="1480127" y="1341582"/>
                  </a:lnTo>
                  <a:lnTo>
                    <a:pt x="1526309" y="1233055"/>
                  </a:lnTo>
                  <a:lnTo>
                    <a:pt x="1526309" y="1212273"/>
                  </a:lnTo>
                  <a:lnTo>
                    <a:pt x="1489363" y="1156855"/>
                  </a:lnTo>
                  <a:lnTo>
                    <a:pt x="1422400" y="1103746"/>
                  </a:lnTo>
                  <a:lnTo>
                    <a:pt x="1350818" y="1096818"/>
                  </a:lnTo>
                  <a:lnTo>
                    <a:pt x="1327727" y="1069109"/>
                  </a:lnTo>
                  <a:lnTo>
                    <a:pt x="1316182" y="930564"/>
                  </a:lnTo>
                  <a:lnTo>
                    <a:pt x="1288472" y="870527"/>
                  </a:lnTo>
                  <a:lnTo>
                    <a:pt x="1209963" y="833582"/>
                  </a:lnTo>
                  <a:lnTo>
                    <a:pt x="1196109" y="822036"/>
                  </a:lnTo>
                  <a:lnTo>
                    <a:pt x="1177636" y="755073"/>
                  </a:lnTo>
                  <a:lnTo>
                    <a:pt x="1159163" y="731982"/>
                  </a:lnTo>
                  <a:lnTo>
                    <a:pt x="1112982" y="713509"/>
                  </a:lnTo>
                  <a:lnTo>
                    <a:pt x="1071418" y="704273"/>
                  </a:lnTo>
                  <a:lnTo>
                    <a:pt x="1022927" y="704273"/>
                  </a:lnTo>
                  <a:lnTo>
                    <a:pt x="944418" y="623455"/>
                  </a:lnTo>
                  <a:lnTo>
                    <a:pt x="939800" y="616527"/>
                  </a:lnTo>
                  <a:lnTo>
                    <a:pt x="919018" y="454891"/>
                  </a:lnTo>
                  <a:lnTo>
                    <a:pt x="789709" y="265546"/>
                  </a:lnTo>
                  <a:lnTo>
                    <a:pt x="775854" y="117764"/>
                  </a:lnTo>
                  <a:lnTo>
                    <a:pt x="750454" y="0"/>
                  </a:lnTo>
                  <a:lnTo>
                    <a:pt x="690418" y="60036"/>
                  </a:lnTo>
                  <a:lnTo>
                    <a:pt x="641927" y="235527"/>
                  </a:lnTo>
                  <a:lnTo>
                    <a:pt x="609600" y="260927"/>
                  </a:lnTo>
                  <a:lnTo>
                    <a:pt x="521854" y="284018"/>
                  </a:lnTo>
                  <a:lnTo>
                    <a:pt x="473363" y="318655"/>
                  </a:lnTo>
                  <a:lnTo>
                    <a:pt x="468745" y="390236"/>
                  </a:lnTo>
                  <a:lnTo>
                    <a:pt x="457200" y="417946"/>
                  </a:lnTo>
                  <a:lnTo>
                    <a:pt x="413327" y="429491"/>
                  </a:lnTo>
                  <a:lnTo>
                    <a:pt x="401782" y="429491"/>
                  </a:lnTo>
                  <a:lnTo>
                    <a:pt x="371763" y="461818"/>
                  </a:lnTo>
                  <a:lnTo>
                    <a:pt x="357909" y="503382"/>
                  </a:lnTo>
                  <a:lnTo>
                    <a:pt x="332509" y="533400"/>
                  </a:lnTo>
                  <a:lnTo>
                    <a:pt x="263236" y="563418"/>
                  </a:lnTo>
                  <a:lnTo>
                    <a:pt x="242454" y="604982"/>
                  </a:lnTo>
                  <a:lnTo>
                    <a:pt x="281709" y="637309"/>
                  </a:lnTo>
                  <a:lnTo>
                    <a:pt x="309418" y="671946"/>
                  </a:lnTo>
                  <a:lnTo>
                    <a:pt x="270163" y="688109"/>
                  </a:lnTo>
                  <a:lnTo>
                    <a:pt x="240145" y="685800"/>
                  </a:lnTo>
                  <a:lnTo>
                    <a:pt x="214745" y="706582"/>
                  </a:lnTo>
                  <a:lnTo>
                    <a:pt x="217054" y="736600"/>
                  </a:lnTo>
                  <a:lnTo>
                    <a:pt x="254000" y="750455"/>
                  </a:lnTo>
                  <a:lnTo>
                    <a:pt x="258618" y="766618"/>
                  </a:lnTo>
                  <a:lnTo>
                    <a:pt x="270163" y="854364"/>
                  </a:lnTo>
                  <a:lnTo>
                    <a:pt x="256309" y="914400"/>
                  </a:lnTo>
                  <a:lnTo>
                    <a:pt x="175491" y="944418"/>
                  </a:lnTo>
                  <a:lnTo>
                    <a:pt x="32327" y="981364"/>
                  </a:lnTo>
                  <a:lnTo>
                    <a:pt x="0" y="1025236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8" name="任意多边形 87"/>
            <p:cNvSpPr/>
            <p:nvPr/>
          </p:nvSpPr>
          <p:spPr bwMode="gray">
            <a:xfrm>
              <a:off x="3657728" y="3777796"/>
              <a:ext cx="387250" cy="310150"/>
            </a:xfrm>
            <a:custGeom>
              <a:avLst/>
              <a:gdLst>
                <a:gd name="connsiteX0" fmla="*/ 0 w 510309"/>
                <a:gd name="connsiteY0" fmla="*/ 154709 h 408709"/>
                <a:gd name="connsiteX1" fmla="*/ 16164 w 510309"/>
                <a:gd name="connsiteY1" fmla="*/ 221672 h 408709"/>
                <a:gd name="connsiteX2" fmla="*/ 36946 w 510309"/>
                <a:gd name="connsiteY2" fmla="*/ 367145 h 408709"/>
                <a:gd name="connsiteX3" fmla="*/ 39255 w 510309"/>
                <a:gd name="connsiteY3" fmla="*/ 408709 h 408709"/>
                <a:gd name="connsiteX4" fmla="*/ 78509 w 510309"/>
                <a:gd name="connsiteY4" fmla="*/ 390236 h 408709"/>
                <a:gd name="connsiteX5" fmla="*/ 138546 w 510309"/>
                <a:gd name="connsiteY5" fmla="*/ 374072 h 408709"/>
                <a:gd name="connsiteX6" fmla="*/ 173182 w 510309"/>
                <a:gd name="connsiteY6" fmla="*/ 350982 h 408709"/>
                <a:gd name="connsiteX7" fmla="*/ 184727 w 510309"/>
                <a:gd name="connsiteY7" fmla="*/ 350982 h 408709"/>
                <a:gd name="connsiteX8" fmla="*/ 193964 w 510309"/>
                <a:gd name="connsiteY8" fmla="*/ 385618 h 408709"/>
                <a:gd name="connsiteX9" fmla="*/ 223982 w 510309"/>
                <a:gd name="connsiteY9" fmla="*/ 406400 h 408709"/>
                <a:gd name="connsiteX10" fmla="*/ 281709 w 510309"/>
                <a:gd name="connsiteY10" fmla="*/ 406400 h 408709"/>
                <a:gd name="connsiteX11" fmla="*/ 311727 w 510309"/>
                <a:gd name="connsiteY11" fmla="*/ 360218 h 408709"/>
                <a:gd name="connsiteX12" fmla="*/ 339437 w 510309"/>
                <a:gd name="connsiteY12" fmla="*/ 332509 h 408709"/>
                <a:gd name="connsiteX13" fmla="*/ 376382 w 510309"/>
                <a:gd name="connsiteY13" fmla="*/ 316345 h 408709"/>
                <a:gd name="connsiteX14" fmla="*/ 408709 w 510309"/>
                <a:gd name="connsiteY14" fmla="*/ 314036 h 408709"/>
                <a:gd name="connsiteX15" fmla="*/ 436418 w 510309"/>
                <a:gd name="connsiteY15" fmla="*/ 348672 h 408709"/>
                <a:gd name="connsiteX16" fmla="*/ 461818 w 510309"/>
                <a:gd name="connsiteY16" fmla="*/ 374072 h 408709"/>
                <a:gd name="connsiteX17" fmla="*/ 471055 w 510309"/>
                <a:gd name="connsiteY17" fmla="*/ 383309 h 408709"/>
                <a:gd name="connsiteX18" fmla="*/ 491837 w 510309"/>
                <a:gd name="connsiteY18" fmla="*/ 355600 h 408709"/>
                <a:gd name="connsiteX19" fmla="*/ 482600 w 510309"/>
                <a:gd name="connsiteY19" fmla="*/ 309418 h 408709"/>
                <a:gd name="connsiteX20" fmla="*/ 510309 w 510309"/>
                <a:gd name="connsiteY20" fmla="*/ 233218 h 408709"/>
                <a:gd name="connsiteX21" fmla="*/ 464127 w 510309"/>
                <a:gd name="connsiteY21" fmla="*/ 235527 h 408709"/>
                <a:gd name="connsiteX22" fmla="*/ 429491 w 510309"/>
                <a:gd name="connsiteY22" fmla="*/ 230909 h 408709"/>
                <a:gd name="connsiteX23" fmla="*/ 401782 w 510309"/>
                <a:gd name="connsiteY23" fmla="*/ 189345 h 408709"/>
                <a:gd name="connsiteX24" fmla="*/ 399473 w 510309"/>
                <a:gd name="connsiteY24" fmla="*/ 157018 h 408709"/>
                <a:gd name="connsiteX25" fmla="*/ 399473 w 510309"/>
                <a:gd name="connsiteY25" fmla="*/ 129309 h 408709"/>
                <a:gd name="connsiteX26" fmla="*/ 401782 w 510309"/>
                <a:gd name="connsiteY26" fmla="*/ 96982 h 408709"/>
                <a:gd name="connsiteX27" fmla="*/ 346364 w 510309"/>
                <a:gd name="connsiteY27" fmla="*/ 110836 h 408709"/>
                <a:gd name="connsiteX28" fmla="*/ 332509 w 510309"/>
                <a:gd name="connsiteY28" fmla="*/ 103909 h 408709"/>
                <a:gd name="connsiteX29" fmla="*/ 334818 w 510309"/>
                <a:gd name="connsiteY29" fmla="*/ 55418 h 408709"/>
                <a:gd name="connsiteX30" fmla="*/ 311727 w 510309"/>
                <a:gd name="connsiteY30" fmla="*/ 0 h 408709"/>
                <a:gd name="connsiteX31" fmla="*/ 272473 w 510309"/>
                <a:gd name="connsiteY31" fmla="*/ 0 h 408709"/>
                <a:gd name="connsiteX32" fmla="*/ 251691 w 510309"/>
                <a:gd name="connsiteY32" fmla="*/ 11545 h 408709"/>
                <a:gd name="connsiteX33" fmla="*/ 219364 w 510309"/>
                <a:gd name="connsiteY33" fmla="*/ 13854 h 408709"/>
                <a:gd name="connsiteX34" fmla="*/ 184727 w 510309"/>
                <a:gd name="connsiteY34" fmla="*/ 48491 h 408709"/>
                <a:gd name="connsiteX35" fmla="*/ 43873 w 510309"/>
                <a:gd name="connsiteY35" fmla="*/ 115454 h 408709"/>
                <a:gd name="connsiteX36" fmla="*/ 0 w 510309"/>
                <a:gd name="connsiteY36" fmla="*/ 154709 h 408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10309" h="408709">
                  <a:moveTo>
                    <a:pt x="0" y="154709"/>
                  </a:moveTo>
                  <a:lnTo>
                    <a:pt x="16164" y="221672"/>
                  </a:lnTo>
                  <a:lnTo>
                    <a:pt x="36946" y="367145"/>
                  </a:lnTo>
                  <a:lnTo>
                    <a:pt x="39255" y="408709"/>
                  </a:lnTo>
                  <a:lnTo>
                    <a:pt x="78509" y="390236"/>
                  </a:lnTo>
                  <a:lnTo>
                    <a:pt x="138546" y="374072"/>
                  </a:lnTo>
                  <a:lnTo>
                    <a:pt x="173182" y="350982"/>
                  </a:lnTo>
                  <a:lnTo>
                    <a:pt x="184727" y="350982"/>
                  </a:lnTo>
                  <a:lnTo>
                    <a:pt x="193964" y="385618"/>
                  </a:lnTo>
                  <a:lnTo>
                    <a:pt x="223982" y="406400"/>
                  </a:lnTo>
                  <a:lnTo>
                    <a:pt x="281709" y="406400"/>
                  </a:lnTo>
                  <a:lnTo>
                    <a:pt x="311727" y="360218"/>
                  </a:lnTo>
                  <a:lnTo>
                    <a:pt x="339437" y="332509"/>
                  </a:lnTo>
                  <a:lnTo>
                    <a:pt x="376382" y="316345"/>
                  </a:lnTo>
                  <a:lnTo>
                    <a:pt x="408709" y="314036"/>
                  </a:lnTo>
                  <a:lnTo>
                    <a:pt x="436418" y="348672"/>
                  </a:lnTo>
                  <a:lnTo>
                    <a:pt x="461818" y="374072"/>
                  </a:lnTo>
                  <a:lnTo>
                    <a:pt x="471055" y="383309"/>
                  </a:lnTo>
                  <a:lnTo>
                    <a:pt x="491837" y="355600"/>
                  </a:lnTo>
                  <a:lnTo>
                    <a:pt x="482600" y="309418"/>
                  </a:lnTo>
                  <a:lnTo>
                    <a:pt x="510309" y="233218"/>
                  </a:lnTo>
                  <a:lnTo>
                    <a:pt x="464127" y="235527"/>
                  </a:lnTo>
                  <a:lnTo>
                    <a:pt x="429491" y="230909"/>
                  </a:lnTo>
                  <a:lnTo>
                    <a:pt x="401782" y="189345"/>
                  </a:lnTo>
                  <a:lnTo>
                    <a:pt x="399473" y="157018"/>
                  </a:lnTo>
                  <a:lnTo>
                    <a:pt x="399473" y="129309"/>
                  </a:lnTo>
                  <a:lnTo>
                    <a:pt x="401782" y="96982"/>
                  </a:lnTo>
                  <a:lnTo>
                    <a:pt x="346364" y="110836"/>
                  </a:lnTo>
                  <a:lnTo>
                    <a:pt x="332509" y="103909"/>
                  </a:lnTo>
                  <a:lnTo>
                    <a:pt x="334818" y="55418"/>
                  </a:lnTo>
                  <a:lnTo>
                    <a:pt x="311727" y="0"/>
                  </a:lnTo>
                  <a:lnTo>
                    <a:pt x="272473" y="0"/>
                  </a:lnTo>
                  <a:lnTo>
                    <a:pt x="251691" y="11545"/>
                  </a:lnTo>
                  <a:lnTo>
                    <a:pt x="219364" y="13854"/>
                  </a:lnTo>
                  <a:lnTo>
                    <a:pt x="184727" y="48491"/>
                  </a:lnTo>
                  <a:lnTo>
                    <a:pt x="43873" y="115454"/>
                  </a:lnTo>
                  <a:lnTo>
                    <a:pt x="0" y="154709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49" name="任意多边形 88"/>
            <p:cNvSpPr/>
            <p:nvPr/>
          </p:nvSpPr>
          <p:spPr bwMode="gray">
            <a:xfrm>
              <a:off x="4070080" y="3881837"/>
              <a:ext cx="352730" cy="274668"/>
            </a:xfrm>
            <a:custGeom>
              <a:avLst/>
              <a:gdLst>
                <a:gd name="connsiteX0" fmla="*/ 0 w 464820"/>
                <a:gd name="connsiteY0" fmla="*/ 102870 h 361950"/>
                <a:gd name="connsiteX1" fmla="*/ 110490 w 464820"/>
                <a:gd name="connsiteY1" fmla="*/ 68580 h 361950"/>
                <a:gd name="connsiteX2" fmla="*/ 129540 w 464820"/>
                <a:gd name="connsiteY2" fmla="*/ 74295 h 361950"/>
                <a:gd name="connsiteX3" fmla="*/ 200025 w 464820"/>
                <a:gd name="connsiteY3" fmla="*/ 131445 h 361950"/>
                <a:gd name="connsiteX4" fmla="*/ 247650 w 464820"/>
                <a:gd name="connsiteY4" fmla="*/ 104775 h 361950"/>
                <a:gd name="connsiteX5" fmla="*/ 312420 w 464820"/>
                <a:gd name="connsiteY5" fmla="*/ 11430 h 361950"/>
                <a:gd name="connsiteX6" fmla="*/ 354330 w 464820"/>
                <a:gd name="connsiteY6" fmla="*/ 0 h 361950"/>
                <a:gd name="connsiteX7" fmla="*/ 386715 w 464820"/>
                <a:gd name="connsiteY7" fmla="*/ 0 h 361950"/>
                <a:gd name="connsiteX8" fmla="*/ 411480 w 464820"/>
                <a:gd name="connsiteY8" fmla="*/ 22860 h 361950"/>
                <a:gd name="connsiteX9" fmla="*/ 464820 w 464820"/>
                <a:gd name="connsiteY9" fmla="*/ 110490 h 361950"/>
                <a:gd name="connsiteX10" fmla="*/ 464820 w 464820"/>
                <a:gd name="connsiteY10" fmla="*/ 142875 h 361950"/>
                <a:gd name="connsiteX11" fmla="*/ 422910 w 464820"/>
                <a:gd name="connsiteY11" fmla="*/ 154305 h 361950"/>
                <a:gd name="connsiteX12" fmla="*/ 365760 w 464820"/>
                <a:gd name="connsiteY12" fmla="*/ 120015 h 361950"/>
                <a:gd name="connsiteX13" fmla="*/ 352425 w 464820"/>
                <a:gd name="connsiteY13" fmla="*/ 133350 h 361950"/>
                <a:gd name="connsiteX14" fmla="*/ 360045 w 464820"/>
                <a:gd name="connsiteY14" fmla="*/ 200025 h 361950"/>
                <a:gd name="connsiteX15" fmla="*/ 363855 w 464820"/>
                <a:gd name="connsiteY15" fmla="*/ 264795 h 361950"/>
                <a:gd name="connsiteX16" fmla="*/ 363855 w 464820"/>
                <a:gd name="connsiteY16" fmla="*/ 316230 h 361950"/>
                <a:gd name="connsiteX17" fmla="*/ 340995 w 464820"/>
                <a:gd name="connsiteY17" fmla="*/ 361950 h 361950"/>
                <a:gd name="connsiteX18" fmla="*/ 251460 w 464820"/>
                <a:gd name="connsiteY18" fmla="*/ 350520 h 361950"/>
                <a:gd name="connsiteX19" fmla="*/ 230505 w 464820"/>
                <a:gd name="connsiteY19" fmla="*/ 316230 h 361950"/>
                <a:gd name="connsiteX20" fmla="*/ 186690 w 464820"/>
                <a:gd name="connsiteY20" fmla="*/ 268605 h 361950"/>
                <a:gd name="connsiteX21" fmla="*/ 173355 w 464820"/>
                <a:gd name="connsiteY21" fmla="*/ 247650 h 361950"/>
                <a:gd name="connsiteX22" fmla="*/ 129540 w 464820"/>
                <a:gd name="connsiteY22" fmla="*/ 240030 h 361950"/>
                <a:gd name="connsiteX23" fmla="*/ 41910 w 464820"/>
                <a:gd name="connsiteY23" fmla="*/ 194310 h 361950"/>
                <a:gd name="connsiteX24" fmla="*/ 0 w 464820"/>
                <a:gd name="connsiteY24" fmla="*/ 102870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64820" h="361950">
                  <a:moveTo>
                    <a:pt x="0" y="102870"/>
                  </a:moveTo>
                  <a:lnTo>
                    <a:pt x="110490" y="68580"/>
                  </a:lnTo>
                  <a:lnTo>
                    <a:pt x="129540" y="74295"/>
                  </a:lnTo>
                  <a:lnTo>
                    <a:pt x="200025" y="131445"/>
                  </a:lnTo>
                  <a:lnTo>
                    <a:pt x="247650" y="104775"/>
                  </a:lnTo>
                  <a:lnTo>
                    <a:pt x="312420" y="11430"/>
                  </a:lnTo>
                  <a:lnTo>
                    <a:pt x="354330" y="0"/>
                  </a:lnTo>
                  <a:lnTo>
                    <a:pt x="386715" y="0"/>
                  </a:lnTo>
                  <a:lnTo>
                    <a:pt x="411480" y="22860"/>
                  </a:lnTo>
                  <a:lnTo>
                    <a:pt x="464820" y="110490"/>
                  </a:lnTo>
                  <a:lnTo>
                    <a:pt x="464820" y="142875"/>
                  </a:lnTo>
                  <a:lnTo>
                    <a:pt x="422910" y="154305"/>
                  </a:lnTo>
                  <a:lnTo>
                    <a:pt x="365760" y="120015"/>
                  </a:lnTo>
                  <a:lnTo>
                    <a:pt x="352425" y="133350"/>
                  </a:lnTo>
                  <a:lnTo>
                    <a:pt x="360045" y="200025"/>
                  </a:lnTo>
                  <a:lnTo>
                    <a:pt x="363855" y="264795"/>
                  </a:lnTo>
                  <a:lnTo>
                    <a:pt x="363855" y="316230"/>
                  </a:lnTo>
                  <a:lnTo>
                    <a:pt x="340995" y="361950"/>
                  </a:lnTo>
                  <a:lnTo>
                    <a:pt x="251460" y="350520"/>
                  </a:lnTo>
                  <a:lnTo>
                    <a:pt x="230505" y="316230"/>
                  </a:lnTo>
                  <a:lnTo>
                    <a:pt x="186690" y="268605"/>
                  </a:lnTo>
                  <a:lnTo>
                    <a:pt x="173355" y="247650"/>
                  </a:lnTo>
                  <a:lnTo>
                    <a:pt x="129540" y="240030"/>
                  </a:lnTo>
                  <a:lnTo>
                    <a:pt x="41910" y="194310"/>
                  </a:lnTo>
                  <a:lnTo>
                    <a:pt x="0" y="10287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0" name="任意多边形 89"/>
            <p:cNvSpPr/>
            <p:nvPr/>
          </p:nvSpPr>
          <p:spPr bwMode="gray">
            <a:xfrm>
              <a:off x="3691328" y="3958455"/>
              <a:ext cx="744493" cy="478499"/>
            </a:xfrm>
            <a:custGeom>
              <a:avLst/>
              <a:gdLst>
                <a:gd name="connsiteX0" fmla="*/ 0 w 981075"/>
                <a:gd name="connsiteY0" fmla="*/ 188595 h 630555"/>
                <a:gd name="connsiteX1" fmla="*/ 123825 w 981075"/>
                <a:gd name="connsiteY1" fmla="*/ 375285 h 630555"/>
                <a:gd name="connsiteX2" fmla="*/ 142875 w 981075"/>
                <a:gd name="connsiteY2" fmla="*/ 533400 h 630555"/>
                <a:gd name="connsiteX3" fmla="*/ 230505 w 981075"/>
                <a:gd name="connsiteY3" fmla="*/ 621030 h 630555"/>
                <a:gd name="connsiteX4" fmla="*/ 314325 w 981075"/>
                <a:gd name="connsiteY4" fmla="*/ 630555 h 630555"/>
                <a:gd name="connsiteX5" fmla="*/ 379095 w 981075"/>
                <a:gd name="connsiteY5" fmla="*/ 533400 h 630555"/>
                <a:gd name="connsiteX6" fmla="*/ 472440 w 981075"/>
                <a:gd name="connsiteY6" fmla="*/ 510540 h 630555"/>
                <a:gd name="connsiteX7" fmla="*/ 541020 w 981075"/>
                <a:gd name="connsiteY7" fmla="*/ 417195 h 630555"/>
                <a:gd name="connsiteX8" fmla="*/ 621030 w 981075"/>
                <a:gd name="connsiteY8" fmla="*/ 371475 h 630555"/>
                <a:gd name="connsiteX9" fmla="*/ 685800 w 981075"/>
                <a:gd name="connsiteY9" fmla="*/ 382905 h 630555"/>
                <a:gd name="connsiteX10" fmla="*/ 729615 w 981075"/>
                <a:gd name="connsiteY10" fmla="*/ 382905 h 630555"/>
                <a:gd name="connsiteX11" fmla="*/ 775335 w 981075"/>
                <a:gd name="connsiteY11" fmla="*/ 481965 h 630555"/>
                <a:gd name="connsiteX12" fmla="*/ 842010 w 981075"/>
                <a:gd name="connsiteY12" fmla="*/ 485775 h 630555"/>
                <a:gd name="connsiteX13" fmla="*/ 954405 w 981075"/>
                <a:gd name="connsiteY13" fmla="*/ 495300 h 630555"/>
                <a:gd name="connsiteX14" fmla="*/ 981075 w 981075"/>
                <a:gd name="connsiteY14" fmla="*/ 445770 h 630555"/>
                <a:gd name="connsiteX15" fmla="*/ 967740 w 981075"/>
                <a:gd name="connsiteY15" fmla="*/ 400050 h 630555"/>
                <a:gd name="connsiteX16" fmla="*/ 933450 w 981075"/>
                <a:gd name="connsiteY16" fmla="*/ 384810 h 630555"/>
                <a:gd name="connsiteX17" fmla="*/ 902970 w 981075"/>
                <a:gd name="connsiteY17" fmla="*/ 358140 h 630555"/>
                <a:gd name="connsiteX18" fmla="*/ 876300 w 981075"/>
                <a:gd name="connsiteY18" fmla="*/ 276225 h 630555"/>
                <a:gd name="connsiteX19" fmla="*/ 842010 w 981075"/>
                <a:gd name="connsiteY19" fmla="*/ 264795 h 630555"/>
                <a:gd name="connsiteX20" fmla="*/ 756285 w 981075"/>
                <a:gd name="connsiteY20" fmla="*/ 257175 h 630555"/>
                <a:gd name="connsiteX21" fmla="*/ 691515 w 981075"/>
                <a:gd name="connsiteY21" fmla="*/ 173355 h 630555"/>
                <a:gd name="connsiteX22" fmla="*/ 681990 w 981075"/>
                <a:gd name="connsiteY22" fmla="*/ 152400 h 630555"/>
                <a:gd name="connsiteX23" fmla="*/ 632460 w 981075"/>
                <a:gd name="connsiteY23" fmla="*/ 139065 h 630555"/>
                <a:gd name="connsiteX24" fmla="*/ 546735 w 981075"/>
                <a:gd name="connsiteY24" fmla="*/ 97155 h 630555"/>
                <a:gd name="connsiteX25" fmla="*/ 501015 w 981075"/>
                <a:gd name="connsiteY25" fmla="*/ 9525 h 630555"/>
                <a:gd name="connsiteX26" fmla="*/ 476250 w 981075"/>
                <a:gd name="connsiteY26" fmla="*/ 0 h 630555"/>
                <a:gd name="connsiteX27" fmla="*/ 445770 w 981075"/>
                <a:gd name="connsiteY27" fmla="*/ 70485 h 630555"/>
                <a:gd name="connsiteX28" fmla="*/ 455295 w 981075"/>
                <a:gd name="connsiteY28" fmla="*/ 112395 h 630555"/>
                <a:gd name="connsiteX29" fmla="*/ 436245 w 981075"/>
                <a:gd name="connsiteY29" fmla="*/ 150495 h 630555"/>
                <a:gd name="connsiteX30" fmla="*/ 367665 w 981075"/>
                <a:gd name="connsiteY30" fmla="*/ 85725 h 630555"/>
                <a:gd name="connsiteX31" fmla="*/ 342900 w 981075"/>
                <a:gd name="connsiteY31" fmla="*/ 78105 h 630555"/>
                <a:gd name="connsiteX32" fmla="*/ 293370 w 981075"/>
                <a:gd name="connsiteY32" fmla="*/ 95250 h 630555"/>
                <a:gd name="connsiteX33" fmla="*/ 260985 w 981075"/>
                <a:gd name="connsiteY33" fmla="*/ 127635 h 630555"/>
                <a:gd name="connsiteX34" fmla="*/ 241935 w 981075"/>
                <a:gd name="connsiteY34" fmla="*/ 171450 h 630555"/>
                <a:gd name="connsiteX35" fmla="*/ 177165 w 981075"/>
                <a:gd name="connsiteY35" fmla="*/ 165735 h 630555"/>
                <a:gd name="connsiteX36" fmla="*/ 148590 w 981075"/>
                <a:gd name="connsiteY36" fmla="*/ 148590 h 630555"/>
                <a:gd name="connsiteX37" fmla="*/ 140970 w 981075"/>
                <a:gd name="connsiteY37" fmla="*/ 116205 h 630555"/>
                <a:gd name="connsiteX38" fmla="*/ 133350 w 981075"/>
                <a:gd name="connsiteY38" fmla="*/ 114300 h 630555"/>
                <a:gd name="connsiteX39" fmla="*/ 87630 w 981075"/>
                <a:gd name="connsiteY39" fmla="*/ 133350 h 630555"/>
                <a:gd name="connsiteX40" fmla="*/ 0 w 981075"/>
                <a:gd name="connsiteY40" fmla="*/ 188595 h 630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981075" h="630555">
                  <a:moveTo>
                    <a:pt x="0" y="188595"/>
                  </a:moveTo>
                  <a:lnTo>
                    <a:pt x="123825" y="375285"/>
                  </a:lnTo>
                  <a:lnTo>
                    <a:pt x="142875" y="533400"/>
                  </a:lnTo>
                  <a:lnTo>
                    <a:pt x="230505" y="621030"/>
                  </a:lnTo>
                  <a:lnTo>
                    <a:pt x="314325" y="630555"/>
                  </a:lnTo>
                  <a:lnTo>
                    <a:pt x="379095" y="533400"/>
                  </a:lnTo>
                  <a:lnTo>
                    <a:pt x="472440" y="510540"/>
                  </a:lnTo>
                  <a:lnTo>
                    <a:pt x="541020" y="417195"/>
                  </a:lnTo>
                  <a:lnTo>
                    <a:pt x="621030" y="371475"/>
                  </a:lnTo>
                  <a:lnTo>
                    <a:pt x="685800" y="382905"/>
                  </a:lnTo>
                  <a:lnTo>
                    <a:pt x="729615" y="382905"/>
                  </a:lnTo>
                  <a:lnTo>
                    <a:pt x="775335" y="481965"/>
                  </a:lnTo>
                  <a:lnTo>
                    <a:pt x="842010" y="485775"/>
                  </a:lnTo>
                  <a:lnTo>
                    <a:pt x="954405" y="495300"/>
                  </a:lnTo>
                  <a:lnTo>
                    <a:pt x="981075" y="445770"/>
                  </a:lnTo>
                  <a:lnTo>
                    <a:pt x="967740" y="400050"/>
                  </a:lnTo>
                  <a:lnTo>
                    <a:pt x="933450" y="384810"/>
                  </a:lnTo>
                  <a:lnTo>
                    <a:pt x="902970" y="358140"/>
                  </a:lnTo>
                  <a:lnTo>
                    <a:pt x="876300" y="276225"/>
                  </a:lnTo>
                  <a:lnTo>
                    <a:pt x="842010" y="264795"/>
                  </a:lnTo>
                  <a:lnTo>
                    <a:pt x="756285" y="257175"/>
                  </a:lnTo>
                  <a:lnTo>
                    <a:pt x="691515" y="173355"/>
                  </a:lnTo>
                  <a:lnTo>
                    <a:pt x="681990" y="152400"/>
                  </a:lnTo>
                  <a:lnTo>
                    <a:pt x="632460" y="139065"/>
                  </a:lnTo>
                  <a:lnTo>
                    <a:pt x="546735" y="97155"/>
                  </a:lnTo>
                  <a:lnTo>
                    <a:pt x="501015" y="9525"/>
                  </a:lnTo>
                  <a:lnTo>
                    <a:pt x="476250" y="0"/>
                  </a:lnTo>
                  <a:lnTo>
                    <a:pt x="445770" y="70485"/>
                  </a:lnTo>
                  <a:lnTo>
                    <a:pt x="455295" y="112395"/>
                  </a:lnTo>
                  <a:lnTo>
                    <a:pt x="436245" y="150495"/>
                  </a:lnTo>
                  <a:lnTo>
                    <a:pt x="367665" y="85725"/>
                  </a:lnTo>
                  <a:lnTo>
                    <a:pt x="342900" y="78105"/>
                  </a:lnTo>
                  <a:lnTo>
                    <a:pt x="293370" y="95250"/>
                  </a:lnTo>
                  <a:lnTo>
                    <a:pt x="260985" y="127635"/>
                  </a:lnTo>
                  <a:lnTo>
                    <a:pt x="241935" y="171450"/>
                  </a:lnTo>
                  <a:lnTo>
                    <a:pt x="177165" y="165735"/>
                  </a:lnTo>
                  <a:lnTo>
                    <a:pt x="148590" y="148590"/>
                  </a:lnTo>
                  <a:lnTo>
                    <a:pt x="140970" y="116205"/>
                  </a:lnTo>
                  <a:lnTo>
                    <a:pt x="133350" y="114300"/>
                  </a:lnTo>
                  <a:lnTo>
                    <a:pt x="87630" y="133350"/>
                  </a:lnTo>
                  <a:lnTo>
                    <a:pt x="0" y="188595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1" name="任意多边形 90"/>
            <p:cNvSpPr/>
            <p:nvPr/>
          </p:nvSpPr>
          <p:spPr bwMode="gray">
            <a:xfrm>
              <a:off x="3809869" y="3487183"/>
              <a:ext cx="430794" cy="475608"/>
            </a:xfrm>
            <a:custGeom>
              <a:avLst/>
              <a:gdLst>
                <a:gd name="connsiteX0" fmla="*/ 17145 w 567690"/>
                <a:gd name="connsiteY0" fmla="*/ 396240 h 626745"/>
                <a:gd name="connsiteX1" fmla="*/ 68580 w 567690"/>
                <a:gd name="connsiteY1" fmla="*/ 386715 h 626745"/>
                <a:gd name="connsiteX2" fmla="*/ 104775 w 567690"/>
                <a:gd name="connsiteY2" fmla="*/ 382905 h 626745"/>
                <a:gd name="connsiteX3" fmla="*/ 139065 w 567690"/>
                <a:gd name="connsiteY3" fmla="*/ 438150 h 626745"/>
                <a:gd name="connsiteX4" fmla="*/ 137160 w 567690"/>
                <a:gd name="connsiteY4" fmla="*/ 483870 h 626745"/>
                <a:gd name="connsiteX5" fmla="*/ 142875 w 567690"/>
                <a:gd name="connsiteY5" fmla="*/ 491490 h 626745"/>
                <a:gd name="connsiteX6" fmla="*/ 201930 w 567690"/>
                <a:gd name="connsiteY6" fmla="*/ 476250 h 626745"/>
                <a:gd name="connsiteX7" fmla="*/ 201930 w 567690"/>
                <a:gd name="connsiteY7" fmla="*/ 569595 h 626745"/>
                <a:gd name="connsiteX8" fmla="*/ 230505 w 567690"/>
                <a:gd name="connsiteY8" fmla="*/ 607695 h 626745"/>
                <a:gd name="connsiteX9" fmla="*/ 281940 w 567690"/>
                <a:gd name="connsiteY9" fmla="*/ 619125 h 626745"/>
                <a:gd name="connsiteX10" fmla="*/ 314325 w 567690"/>
                <a:gd name="connsiteY10" fmla="*/ 619125 h 626745"/>
                <a:gd name="connsiteX11" fmla="*/ 333375 w 567690"/>
                <a:gd name="connsiteY11" fmla="*/ 626745 h 626745"/>
                <a:gd name="connsiteX12" fmla="*/ 462915 w 567690"/>
                <a:gd name="connsiteY12" fmla="*/ 592455 h 626745"/>
                <a:gd name="connsiteX13" fmla="*/ 491490 w 567690"/>
                <a:gd name="connsiteY13" fmla="*/ 516255 h 626745"/>
                <a:gd name="connsiteX14" fmla="*/ 485775 w 567690"/>
                <a:gd name="connsiteY14" fmla="*/ 501015 h 626745"/>
                <a:gd name="connsiteX15" fmla="*/ 417195 w 567690"/>
                <a:gd name="connsiteY15" fmla="*/ 506730 h 626745"/>
                <a:gd name="connsiteX16" fmla="*/ 407670 w 567690"/>
                <a:gd name="connsiteY16" fmla="*/ 474345 h 626745"/>
                <a:gd name="connsiteX17" fmla="*/ 417195 w 567690"/>
                <a:gd name="connsiteY17" fmla="*/ 424815 h 626745"/>
                <a:gd name="connsiteX18" fmla="*/ 440055 w 567690"/>
                <a:gd name="connsiteY18" fmla="*/ 367665 h 626745"/>
                <a:gd name="connsiteX19" fmla="*/ 504825 w 567690"/>
                <a:gd name="connsiteY19" fmla="*/ 358140 h 626745"/>
                <a:gd name="connsiteX20" fmla="*/ 560070 w 567690"/>
                <a:gd name="connsiteY20" fmla="*/ 310515 h 626745"/>
                <a:gd name="connsiteX21" fmla="*/ 567690 w 567690"/>
                <a:gd name="connsiteY21" fmla="*/ 260985 h 626745"/>
                <a:gd name="connsiteX22" fmla="*/ 499110 w 567690"/>
                <a:gd name="connsiteY22" fmla="*/ 268605 h 626745"/>
                <a:gd name="connsiteX23" fmla="*/ 483870 w 567690"/>
                <a:gd name="connsiteY23" fmla="*/ 215265 h 626745"/>
                <a:gd name="connsiteX24" fmla="*/ 499110 w 567690"/>
                <a:gd name="connsiteY24" fmla="*/ 38100 h 626745"/>
                <a:gd name="connsiteX25" fmla="*/ 476250 w 567690"/>
                <a:gd name="connsiteY25" fmla="*/ 0 h 626745"/>
                <a:gd name="connsiteX26" fmla="*/ 421005 w 567690"/>
                <a:gd name="connsiteY26" fmla="*/ 7620 h 626745"/>
                <a:gd name="connsiteX27" fmla="*/ 339090 w 567690"/>
                <a:gd name="connsiteY27" fmla="*/ 40005 h 626745"/>
                <a:gd name="connsiteX28" fmla="*/ 285750 w 567690"/>
                <a:gd name="connsiteY28" fmla="*/ 40005 h 626745"/>
                <a:gd name="connsiteX29" fmla="*/ 238125 w 567690"/>
                <a:gd name="connsiteY29" fmla="*/ 15240 h 626745"/>
                <a:gd name="connsiteX30" fmla="*/ 219075 w 567690"/>
                <a:gd name="connsiteY30" fmla="*/ 60960 h 626745"/>
                <a:gd name="connsiteX31" fmla="*/ 211455 w 567690"/>
                <a:gd name="connsiteY31" fmla="*/ 106680 h 626745"/>
                <a:gd name="connsiteX32" fmla="*/ 83820 w 567690"/>
                <a:gd name="connsiteY32" fmla="*/ 120015 h 626745"/>
                <a:gd name="connsiteX33" fmla="*/ 17145 w 567690"/>
                <a:gd name="connsiteY33" fmla="*/ 156210 h 626745"/>
                <a:gd name="connsiteX34" fmla="*/ 7620 w 567690"/>
                <a:gd name="connsiteY34" fmla="*/ 224790 h 626745"/>
                <a:gd name="connsiteX35" fmla="*/ 0 w 567690"/>
                <a:gd name="connsiteY35" fmla="*/ 274320 h 626745"/>
                <a:gd name="connsiteX36" fmla="*/ 13335 w 567690"/>
                <a:gd name="connsiteY36" fmla="*/ 320040 h 626745"/>
                <a:gd name="connsiteX37" fmla="*/ 17145 w 567690"/>
                <a:gd name="connsiteY37" fmla="*/ 396240 h 626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67690" h="626745">
                  <a:moveTo>
                    <a:pt x="17145" y="396240"/>
                  </a:moveTo>
                  <a:lnTo>
                    <a:pt x="68580" y="386715"/>
                  </a:lnTo>
                  <a:lnTo>
                    <a:pt x="104775" y="382905"/>
                  </a:lnTo>
                  <a:lnTo>
                    <a:pt x="139065" y="438150"/>
                  </a:lnTo>
                  <a:lnTo>
                    <a:pt x="137160" y="483870"/>
                  </a:lnTo>
                  <a:lnTo>
                    <a:pt x="142875" y="491490"/>
                  </a:lnTo>
                  <a:lnTo>
                    <a:pt x="201930" y="476250"/>
                  </a:lnTo>
                  <a:lnTo>
                    <a:pt x="201930" y="569595"/>
                  </a:lnTo>
                  <a:lnTo>
                    <a:pt x="230505" y="607695"/>
                  </a:lnTo>
                  <a:lnTo>
                    <a:pt x="281940" y="619125"/>
                  </a:lnTo>
                  <a:lnTo>
                    <a:pt x="314325" y="619125"/>
                  </a:lnTo>
                  <a:lnTo>
                    <a:pt x="333375" y="626745"/>
                  </a:lnTo>
                  <a:lnTo>
                    <a:pt x="462915" y="592455"/>
                  </a:lnTo>
                  <a:lnTo>
                    <a:pt x="491490" y="516255"/>
                  </a:lnTo>
                  <a:lnTo>
                    <a:pt x="485775" y="501015"/>
                  </a:lnTo>
                  <a:lnTo>
                    <a:pt x="417195" y="506730"/>
                  </a:lnTo>
                  <a:lnTo>
                    <a:pt x="407670" y="474345"/>
                  </a:lnTo>
                  <a:lnTo>
                    <a:pt x="417195" y="424815"/>
                  </a:lnTo>
                  <a:lnTo>
                    <a:pt x="440055" y="367665"/>
                  </a:lnTo>
                  <a:lnTo>
                    <a:pt x="504825" y="358140"/>
                  </a:lnTo>
                  <a:lnTo>
                    <a:pt x="560070" y="310515"/>
                  </a:lnTo>
                  <a:lnTo>
                    <a:pt x="567690" y="260985"/>
                  </a:lnTo>
                  <a:lnTo>
                    <a:pt x="499110" y="268605"/>
                  </a:lnTo>
                  <a:lnTo>
                    <a:pt x="483870" y="215265"/>
                  </a:lnTo>
                  <a:lnTo>
                    <a:pt x="499110" y="38100"/>
                  </a:lnTo>
                  <a:lnTo>
                    <a:pt x="476250" y="0"/>
                  </a:lnTo>
                  <a:lnTo>
                    <a:pt x="421005" y="7620"/>
                  </a:lnTo>
                  <a:lnTo>
                    <a:pt x="339090" y="40005"/>
                  </a:lnTo>
                  <a:lnTo>
                    <a:pt x="285750" y="40005"/>
                  </a:lnTo>
                  <a:lnTo>
                    <a:pt x="238125" y="15240"/>
                  </a:lnTo>
                  <a:lnTo>
                    <a:pt x="219075" y="60960"/>
                  </a:lnTo>
                  <a:lnTo>
                    <a:pt x="211455" y="106680"/>
                  </a:lnTo>
                  <a:lnTo>
                    <a:pt x="83820" y="120015"/>
                  </a:lnTo>
                  <a:lnTo>
                    <a:pt x="17145" y="156210"/>
                  </a:lnTo>
                  <a:lnTo>
                    <a:pt x="7620" y="224790"/>
                  </a:lnTo>
                  <a:lnTo>
                    <a:pt x="0" y="274320"/>
                  </a:lnTo>
                  <a:lnTo>
                    <a:pt x="13335" y="320040"/>
                  </a:lnTo>
                  <a:lnTo>
                    <a:pt x="17145" y="39624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2" name="任意多边形 92"/>
            <p:cNvSpPr/>
            <p:nvPr/>
          </p:nvSpPr>
          <p:spPr bwMode="gray">
            <a:xfrm>
              <a:off x="3823843" y="2570662"/>
              <a:ext cx="1179624" cy="1123726"/>
            </a:xfrm>
            <a:custGeom>
              <a:avLst/>
              <a:gdLst>
                <a:gd name="connsiteX0" fmla="*/ 1176020 w 1554480"/>
                <a:gd name="connsiteY0" fmla="*/ 576580 h 1480820"/>
                <a:gd name="connsiteX1" fmla="*/ 1247140 w 1554480"/>
                <a:gd name="connsiteY1" fmla="*/ 523240 h 1480820"/>
                <a:gd name="connsiteX2" fmla="*/ 1346200 w 1554480"/>
                <a:gd name="connsiteY2" fmla="*/ 505460 h 1480820"/>
                <a:gd name="connsiteX3" fmla="*/ 1424940 w 1554480"/>
                <a:gd name="connsiteY3" fmla="*/ 469900 h 1480820"/>
                <a:gd name="connsiteX4" fmla="*/ 1450340 w 1554480"/>
                <a:gd name="connsiteY4" fmla="*/ 459740 h 1480820"/>
                <a:gd name="connsiteX5" fmla="*/ 1488440 w 1554480"/>
                <a:gd name="connsiteY5" fmla="*/ 477520 h 1480820"/>
                <a:gd name="connsiteX6" fmla="*/ 1551940 w 1554480"/>
                <a:gd name="connsiteY6" fmla="*/ 416560 h 1480820"/>
                <a:gd name="connsiteX7" fmla="*/ 1554480 w 1554480"/>
                <a:gd name="connsiteY7" fmla="*/ 353060 h 1480820"/>
                <a:gd name="connsiteX8" fmla="*/ 1539240 w 1554480"/>
                <a:gd name="connsiteY8" fmla="*/ 302260 h 1480820"/>
                <a:gd name="connsiteX9" fmla="*/ 1516380 w 1554480"/>
                <a:gd name="connsiteY9" fmla="*/ 200660 h 1480820"/>
                <a:gd name="connsiteX10" fmla="*/ 1496060 w 1554480"/>
                <a:gd name="connsiteY10" fmla="*/ 111760 h 1480820"/>
                <a:gd name="connsiteX11" fmla="*/ 1440180 w 1554480"/>
                <a:gd name="connsiteY11" fmla="*/ 111760 h 1480820"/>
                <a:gd name="connsiteX12" fmla="*/ 1417320 w 1554480"/>
                <a:gd name="connsiteY12" fmla="*/ 73660 h 1480820"/>
                <a:gd name="connsiteX13" fmla="*/ 1422400 w 1554480"/>
                <a:gd name="connsiteY13" fmla="*/ 0 h 1480820"/>
                <a:gd name="connsiteX14" fmla="*/ 1338580 w 1554480"/>
                <a:gd name="connsiteY14" fmla="*/ 7620 h 1480820"/>
                <a:gd name="connsiteX15" fmla="*/ 1193800 w 1554480"/>
                <a:gd name="connsiteY15" fmla="*/ 78740 h 1480820"/>
                <a:gd name="connsiteX16" fmla="*/ 1102360 w 1554480"/>
                <a:gd name="connsiteY16" fmla="*/ 149860 h 1480820"/>
                <a:gd name="connsiteX17" fmla="*/ 1064260 w 1554480"/>
                <a:gd name="connsiteY17" fmla="*/ 182880 h 1480820"/>
                <a:gd name="connsiteX18" fmla="*/ 939800 w 1554480"/>
                <a:gd name="connsiteY18" fmla="*/ 213360 h 1480820"/>
                <a:gd name="connsiteX19" fmla="*/ 909320 w 1554480"/>
                <a:gd name="connsiteY19" fmla="*/ 297180 h 1480820"/>
                <a:gd name="connsiteX20" fmla="*/ 756920 w 1554480"/>
                <a:gd name="connsiteY20" fmla="*/ 337820 h 1480820"/>
                <a:gd name="connsiteX21" fmla="*/ 688340 w 1554480"/>
                <a:gd name="connsiteY21" fmla="*/ 279400 h 1480820"/>
                <a:gd name="connsiteX22" fmla="*/ 665480 w 1554480"/>
                <a:gd name="connsiteY22" fmla="*/ 314960 h 1480820"/>
                <a:gd name="connsiteX23" fmla="*/ 541020 w 1554480"/>
                <a:gd name="connsiteY23" fmla="*/ 355600 h 1480820"/>
                <a:gd name="connsiteX24" fmla="*/ 436880 w 1554480"/>
                <a:gd name="connsiteY24" fmla="*/ 358140 h 1480820"/>
                <a:gd name="connsiteX25" fmla="*/ 381000 w 1554480"/>
                <a:gd name="connsiteY25" fmla="*/ 320040 h 1480820"/>
                <a:gd name="connsiteX26" fmla="*/ 347980 w 1554480"/>
                <a:gd name="connsiteY26" fmla="*/ 307340 h 1480820"/>
                <a:gd name="connsiteX27" fmla="*/ 304800 w 1554480"/>
                <a:gd name="connsiteY27" fmla="*/ 312420 h 1480820"/>
                <a:gd name="connsiteX28" fmla="*/ 284480 w 1554480"/>
                <a:gd name="connsiteY28" fmla="*/ 350520 h 1480820"/>
                <a:gd name="connsiteX29" fmla="*/ 281940 w 1554480"/>
                <a:gd name="connsiteY29" fmla="*/ 370840 h 1480820"/>
                <a:gd name="connsiteX30" fmla="*/ 254000 w 1554480"/>
                <a:gd name="connsiteY30" fmla="*/ 398780 h 1480820"/>
                <a:gd name="connsiteX31" fmla="*/ 137160 w 1554480"/>
                <a:gd name="connsiteY31" fmla="*/ 398780 h 1480820"/>
                <a:gd name="connsiteX32" fmla="*/ 96520 w 1554480"/>
                <a:gd name="connsiteY32" fmla="*/ 411480 h 1480820"/>
                <a:gd name="connsiteX33" fmla="*/ 83820 w 1554480"/>
                <a:gd name="connsiteY33" fmla="*/ 457200 h 1480820"/>
                <a:gd name="connsiteX34" fmla="*/ 111760 w 1554480"/>
                <a:gd name="connsiteY34" fmla="*/ 558800 h 1480820"/>
                <a:gd name="connsiteX35" fmla="*/ 167640 w 1554480"/>
                <a:gd name="connsiteY35" fmla="*/ 647700 h 1480820"/>
                <a:gd name="connsiteX36" fmla="*/ 170180 w 1554480"/>
                <a:gd name="connsiteY36" fmla="*/ 673100 h 1480820"/>
                <a:gd name="connsiteX37" fmla="*/ 106680 w 1554480"/>
                <a:gd name="connsiteY37" fmla="*/ 693420 h 1480820"/>
                <a:gd name="connsiteX38" fmla="*/ 22860 w 1554480"/>
                <a:gd name="connsiteY38" fmla="*/ 723900 h 1480820"/>
                <a:gd name="connsiteX39" fmla="*/ 0 w 1554480"/>
                <a:gd name="connsiteY39" fmla="*/ 772160 h 1480820"/>
                <a:gd name="connsiteX40" fmla="*/ 12700 w 1554480"/>
                <a:gd name="connsiteY40" fmla="*/ 855980 h 1480820"/>
                <a:gd name="connsiteX41" fmla="*/ 63500 w 1554480"/>
                <a:gd name="connsiteY41" fmla="*/ 914400 h 1480820"/>
                <a:gd name="connsiteX42" fmla="*/ 124460 w 1554480"/>
                <a:gd name="connsiteY42" fmla="*/ 929640 h 1480820"/>
                <a:gd name="connsiteX43" fmla="*/ 167640 w 1554480"/>
                <a:gd name="connsiteY43" fmla="*/ 980440 h 1480820"/>
                <a:gd name="connsiteX44" fmla="*/ 213360 w 1554480"/>
                <a:gd name="connsiteY44" fmla="*/ 1051560 h 1480820"/>
                <a:gd name="connsiteX45" fmla="*/ 238760 w 1554480"/>
                <a:gd name="connsiteY45" fmla="*/ 1117600 h 1480820"/>
                <a:gd name="connsiteX46" fmla="*/ 233680 w 1554480"/>
                <a:gd name="connsiteY46" fmla="*/ 1160780 h 1480820"/>
                <a:gd name="connsiteX47" fmla="*/ 223520 w 1554480"/>
                <a:gd name="connsiteY47" fmla="*/ 1216660 h 1480820"/>
                <a:gd name="connsiteX48" fmla="*/ 264160 w 1554480"/>
                <a:gd name="connsiteY48" fmla="*/ 1249680 h 1480820"/>
                <a:gd name="connsiteX49" fmla="*/ 320040 w 1554480"/>
                <a:gd name="connsiteY49" fmla="*/ 1252220 h 1480820"/>
                <a:gd name="connsiteX50" fmla="*/ 391160 w 1554480"/>
                <a:gd name="connsiteY50" fmla="*/ 1216660 h 1480820"/>
                <a:gd name="connsiteX51" fmla="*/ 454660 w 1554480"/>
                <a:gd name="connsiteY51" fmla="*/ 1211580 h 1480820"/>
                <a:gd name="connsiteX52" fmla="*/ 477520 w 1554480"/>
                <a:gd name="connsiteY52" fmla="*/ 1244600 h 1480820"/>
                <a:gd name="connsiteX53" fmla="*/ 467360 w 1554480"/>
                <a:gd name="connsiteY53" fmla="*/ 1430020 h 1480820"/>
                <a:gd name="connsiteX54" fmla="*/ 482600 w 1554480"/>
                <a:gd name="connsiteY54" fmla="*/ 1480820 h 1480820"/>
                <a:gd name="connsiteX55" fmla="*/ 551180 w 1554480"/>
                <a:gd name="connsiteY55" fmla="*/ 1465580 h 1480820"/>
                <a:gd name="connsiteX56" fmla="*/ 601980 w 1554480"/>
                <a:gd name="connsiteY56" fmla="*/ 1455420 h 1480820"/>
                <a:gd name="connsiteX57" fmla="*/ 645160 w 1554480"/>
                <a:gd name="connsiteY57" fmla="*/ 1447800 h 1480820"/>
                <a:gd name="connsiteX58" fmla="*/ 731520 w 1554480"/>
                <a:gd name="connsiteY58" fmla="*/ 1239520 h 1480820"/>
                <a:gd name="connsiteX59" fmla="*/ 815340 w 1554480"/>
                <a:gd name="connsiteY59" fmla="*/ 1176020 h 1480820"/>
                <a:gd name="connsiteX60" fmla="*/ 853440 w 1554480"/>
                <a:gd name="connsiteY60" fmla="*/ 1094740 h 1480820"/>
                <a:gd name="connsiteX61" fmla="*/ 982980 w 1554480"/>
                <a:gd name="connsiteY61" fmla="*/ 922020 h 1480820"/>
                <a:gd name="connsiteX62" fmla="*/ 1016000 w 1554480"/>
                <a:gd name="connsiteY62" fmla="*/ 812800 h 1480820"/>
                <a:gd name="connsiteX63" fmla="*/ 990600 w 1554480"/>
                <a:gd name="connsiteY63" fmla="*/ 680720 h 1480820"/>
                <a:gd name="connsiteX64" fmla="*/ 1092200 w 1554480"/>
                <a:gd name="connsiteY64" fmla="*/ 640080 h 1480820"/>
                <a:gd name="connsiteX65" fmla="*/ 1176020 w 1554480"/>
                <a:gd name="connsiteY65" fmla="*/ 576580 h 1480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1554480" h="1480820">
                  <a:moveTo>
                    <a:pt x="1176020" y="576580"/>
                  </a:moveTo>
                  <a:lnTo>
                    <a:pt x="1247140" y="523240"/>
                  </a:lnTo>
                  <a:lnTo>
                    <a:pt x="1346200" y="505460"/>
                  </a:lnTo>
                  <a:lnTo>
                    <a:pt x="1424940" y="469900"/>
                  </a:lnTo>
                  <a:lnTo>
                    <a:pt x="1450340" y="459740"/>
                  </a:lnTo>
                  <a:lnTo>
                    <a:pt x="1488440" y="477520"/>
                  </a:lnTo>
                  <a:lnTo>
                    <a:pt x="1551940" y="416560"/>
                  </a:lnTo>
                  <a:lnTo>
                    <a:pt x="1554480" y="353060"/>
                  </a:lnTo>
                  <a:lnTo>
                    <a:pt x="1539240" y="302260"/>
                  </a:lnTo>
                  <a:lnTo>
                    <a:pt x="1516380" y="200660"/>
                  </a:lnTo>
                  <a:lnTo>
                    <a:pt x="1496060" y="111760"/>
                  </a:lnTo>
                  <a:lnTo>
                    <a:pt x="1440180" y="111760"/>
                  </a:lnTo>
                  <a:lnTo>
                    <a:pt x="1417320" y="73660"/>
                  </a:lnTo>
                  <a:lnTo>
                    <a:pt x="1422400" y="0"/>
                  </a:lnTo>
                  <a:lnTo>
                    <a:pt x="1338580" y="7620"/>
                  </a:lnTo>
                  <a:lnTo>
                    <a:pt x="1193800" y="78740"/>
                  </a:lnTo>
                  <a:lnTo>
                    <a:pt x="1102360" y="149860"/>
                  </a:lnTo>
                  <a:lnTo>
                    <a:pt x="1064260" y="182880"/>
                  </a:lnTo>
                  <a:lnTo>
                    <a:pt x="939800" y="213360"/>
                  </a:lnTo>
                  <a:lnTo>
                    <a:pt x="909320" y="297180"/>
                  </a:lnTo>
                  <a:lnTo>
                    <a:pt x="756920" y="337820"/>
                  </a:lnTo>
                  <a:lnTo>
                    <a:pt x="688340" y="279400"/>
                  </a:lnTo>
                  <a:lnTo>
                    <a:pt x="665480" y="314960"/>
                  </a:lnTo>
                  <a:lnTo>
                    <a:pt x="541020" y="355600"/>
                  </a:lnTo>
                  <a:lnTo>
                    <a:pt x="436880" y="358140"/>
                  </a:lnTo>
                  <a:lnTo>
                    <a:pt x="381000" y="320040"/>
                  </a:lnTo>
                  <a:lnTo>
                    <a:pt x="347980" y="307340"/>
                  </a:lnTo>
                  <a:lnTo>
                    <a:pt x="304800" y="312420"/>
                  </a:lnTo>
                  <a:lnTo>
                    <a:pt x="284480" y="350520"/>
                  </a:lnTo>
                  <a:lnTo>
                    <a:pt x="281940" y="370840"/>
                  </a:lnTo>
                  <a:lnTo>
                    <a:pt x="254000" y="398780"/>
                  </a:lnTo>
                  <a:lnTo>
                    <a:pt x="137160" y="398780"/>
                  </a:lnTo>
                  <a:lnTo>
                    <a:pt x="96520" y="411480"/>
                  </a:lnTo>
                  <a:lnTo>
                    <a:pt x="83820" y="457200"/>
                  </a:lnTo>
                  <a:lnTo>
                    <a:pt x="111760" y="558800"/>
                  </a:lnTo>
                  <a:lnTo>
                    <a:pt x="167640" y="647700"/>
                  </a:lnTo>
                  <a:lnTo>
                    <a:pt x="170180" y="673100"/>
                  </a:lnTo>
                  <a:lnTo>
                    <a:pt x="106680" y="693420"/>
                  </a:lnTo>
                  <a:lnTo>
                    <a:pt x="22860" y="723900"/>
                  </a:lnTo>
                  <a:lnTo>
                    <a:pt x="0" y="772160"/>
                  </a:lnTo>
                  <a:lnTo>
                    <a:pt x="12700" y="855980"/>
                  </a:lnTo>
                  <a:lnTo>
                    <a:pt x="63500" y="914400"/>
                  </a:lnTo>
                  <a:lnTo>
                    <a:pt x="124460" y="929640"/>
                  </a:lnTo>
                  <a:lnTo>
                    <a:pt x="167640" y="980440"/>
                  </a:lnTo>
                  <a:lnTo>
                    <a:pt x="213360" y="1051560"/>
                  </a:lnTo>
                  <a:lnTo>
                    <a:pt x="238760" y="1117600"/>
                  </a:lnTo>
                  <a:lnTo>
                    <a:pt x="233680" y="1160780"/>
                  </a:lnTo>
                  <a:lnTo>
                    <a:pt x="223520" y="1216660"/>
                  </a:lnTo>
                  <a:lnTo>
                    <a:pt x="264160" y="1249680"/>
                  </a:lnTo>
                  <a:lnTo>
                    <a:pt x="320040" y="1252220"/>
                  </a:lnTo>
                  <a:lnTo>
                    <a:pt x="391160" y="1216660"/>
                  </a:lnTo>
                  <a:lnTo>
                    <a:pt x="454660" y="1211580"/>
                  </a:lnTo>
                  <a:lnTo>
                    <a:pt x="477520" y="1244600"/>
                  </a:lnTo>
                  <a:lnTo>
                    <a:pt x="467360" y="1430020"/>
                  </a:lnTo>
                  <a:lnTo>
                    <a:pt x="482600" y="1480820"/>
                  </a:lnTo>
                  <a:lnTo>
                    <a:pt x="551180" y="1465580"/>
                  </a:lnTo>
                  <a:lnTo>
                    <a:pt x="601980" y="1455420"/>
                  </a:lnTo>
                  <a:lnTo>
                    <a:pt x="645160" y="1447800"/>
                  </a:lnTo>
                  <a:lnTo>
                    <a:pt x="731520" y="1239520"/>
                  </a:lnTo>
                  <a:lnTo>
                    <a:pt x="815340" y="1176020"/>
                  </a:lnTo>
                  <a:lnTo>
                    <a:pt x="853440" y="1094740"/>
                  </a:lnTo>
                  <a:lnTo>
                    <a:pt x="982980" y="922020"/>
                  </a:lnTo>
                  <a:lnTo>
                    <a:pt x="1016000" y="812800"/>
                  </a:lnTo>
                  <a:lnTo>
                    <a:pt x="990600" y="680720"/>
                  </a:lnTo>
                  <a:lnTo>
                    <a:pt x="1092200" y="640080"/>
                  </a:lnTo>
                  <a:lnTo>
                    <a:pt x="1176020" y="57658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3" name="任意多边形 94"/>
            <p:cNvSpPr/>
            <p:nvPr/>
          </p:nvSpPr>
          <p:spPr bwMode="gray">
            <a:xfrm>
              <a:off x="4033940" y="1822796"/>
              <a:ext cx="925195" cy="1015787"/>
            </a:xfrm>
            <a:custGeom>
              <a:avLst/>
              <a:gdLst>
                <a:gd name="connsiteX0" fmla="*/ 124460 w 1219200"/>
                <a:gd name="connsiteY0" fmla="*/ 1315720 h 1338580"/>
                <a:gd name="connsiteX1" fmla="*/ 205740 w 1219200"/>
                <a:gd name="connsiteY1" fmla="*/ 1234440 h 1338580"/>
                <a:gd name="connsiteX2" fmla="*/ 220980 w 1219200"/>
                <a:gd name="connsiteY2" fmla="*/ 1186180 h 1338580"/>
                <a:gd name="connsiteX3" fmla="*/ 154940 w 1219200"/>
                <a:gd name="connsiteY3" fmla="*/ 1112520 h 1338580"/>
                <a:gd name="connsiteX4" fmla="*/ 121920 w 1219200"/>
                <a:gd name="connsiteY4" fmla="*/ 1026160 h 1338580"/>
                <a:gd name="connsiteX5" fmla="*/ 160020 w 1219200"/>
                <a:gd name="connsiteY5" fmla="*/ 906780 h 1338580"/>
                <a:gd name="connsiteX6" fmla="*/ 132080 w 1219200"/>
                <a:gd name="connsiteY6" fmla="*/ 871220 h 1338580"/>
                <a:gd name="connsiteX7" fmla="*/ 60960 w 1219200"/>
                <a:gd name="connsiteY7" fmla="*/ 855980 h 1338580"/>
                <a:gd name="connsiteX8" fmla="*/ 38100 w 1219200"/>
                <a:gd name="connsiteY8" fmla="*/ 838200 h 1338580"/>
                <a:gd name="connsiteX9" fmla="*/ 38100 w 1219200"/>
                <a:gd name="connsiteY9" fmla="*/ 782320 h 1338580"/>
                <a:gd name="connsiteX10" fmla="*/ 30480 w 1219200"/>
                <a:gd name="connsiteY10" fmla="*/ 749300 h 1338580"/>
                <a:gd name="connsiteX11" fmla="*/ 0 w 1219200"/>
                <a:gd name="connsiteY11" fmla="*/ 647700 h 1338580"/>
                <a:gd name="connsiteX12" fmla="*/ 15240 w 1219200"/>
                <a:gd name="connsiteY12" fmla="*/ 584200 h 1338580"/>
                <a:gd name="connsiteX13" fmla="*/ 48260 w 1219200"/>
                <a:gd name="connsiteY13" fmla="*/ 558800 h 1338580"/>
                <a:gd name="connsiteX14" fmla="*/ 38100 w 1219200"/>
                <a:gd name="connsiteY14" fmla="*/ 474980 h 1338580"/>
                <a:gd name="connsiteX15" fmla="*/ 60960 w 1219200"/>
                <a:gd name="connsiteY15" fmla="*/ 444500 h 1338580"/>
                <a:gd name="connsiteX16" fmla="*/ 96520 w 1219200"/>
                <a:gd name="connsiteY16" fmla="*/ 396240 h 1338580"/>
                <a:gd name="connsiteX17" fmla="*/ 81280 w 1219200"/>
                <a:gd name="connsiteY17" fmla="*/ 302260 h 1338580"/>
                <a:gd name="connsiteX18" fmla="*/ 96520 w 1219200"/>
                <a:gd name="connsiteY18" fmla="*/ 274320 h 1338580"/>
                <a:gd name="connsiteX19" fmla="*/ 154940 w 1219200"/>
                <a:gd name="connsiteY19" fmla="*/ 254000 h 1338580"/>
                <a:gd name="connsiteX20" fmla="*/ 251460 w 1219200"/>
                <a:gd name="connsiteY20" fmla="*/ 281940 h 1338580"/>
                <a:gd name="connsiteX21" fmla="*/ 297180 w 1219200"/>
                <a:gd name="connsiteY21" fmla="*/ 287020 h 1338580"/>
                <a:gd name="connsiteX22" fmla="*/ 299720 w 1219200"/>
                <a:gd name="connsiteY22" fmla="*/ 226060 h 1338580"/>
                <a:gd name="connsiteX23" fmla="*/ 307340 w 1219200"/>
                <a:gd name="connsiteY23" fmla="*/ 167640 h 1338580"/>
                <a:gd name="connsiteX24" fmla="*/ 342900 w 1219200"/>
                <a:gd name="connsiteY24" fmla="*/ 160020 h 1338580"/>
                <a:gd name="connsiteX25" fmla="*/ 396240 w 1219200"/>
                <a:gd name="connsiteY25" fmla="*/ 167640 h 1338580"/>
                <a:gd name="connsiteX26" fmla="*/ 502920 w 1219200"/>
                <a:gd name="connsiteY26" fmla="*/ 149860 h 1338580"/>
                <a:gd name="connsiteX27" fmla="*/ 614680 w 1219200"/>
                <a:gd name="connsiteY27" fmla="*/ 106680 h 1338580"/>
                <a:gd name="connsiteX28" fmla="*/ 668020 w 1219200"/>
                <a:gd name="connsiteY28" fmla="*/ 20320 h 1338580"/>
                <a:gd name="connsiteX29" fmla="*/ 680720 w 1219200"/>
                <a:gd name="connsiteY29" fmla="*/ 7620 h 1338580"/>
                <a:gd name="connsiteX30" fmla="*/ 784860 w 1219200"/>
                <a:gd name="connsiteY30" fmla="*/ 0 h 1338580"/>
                <a:gd name="connsiteX31" fmla="*/ 795020 w 1219200"/>
                <a:gd name="connsiteY31" fmla="*/ 7620 h 1338580"/>
                <a:gd name="connsiteX32" fmla="*/ 805180 w 1219200"/>
                <a:gd name="connsiteY32" fmla="*/ 60960 h 1338580"/>
                <a:gd name="connsiteX33" fmla="*/ 927100 w 1219200"/>
                <a:gd name="connsiteY33" fmla="*/ 106680 h 1338580"/>
                <a:gd name="connsiteX34" fmla="*/ 937260 w 1219200"/>
                <a:gd name="connsiteY34" fmla="*/ 119380 h 1338580"/>
                <a:gd name="connsiteX35" fmla="*/ 825500 w 1219200"/>
                <a:gd name="connsiteY35" fmla="*/ 152400 h 1338580"/>
                <a:gd name="connsiteX36" fmla="*/ 815340 w 1219200"/>
                <a:gd name="connsiteY36" fmla="*/ 175260 h 1338580"/>
                <a:gd name="connsiteX37" fmla="*/ 830580 w 1219200"/>
                <a:gd name="connsiteY37" fmla="*/ 200660 h 1338580"/>
                <a:gd name="connsiteX38" fmla="*/ 868680 w 1219200"/>
                <a:gd name="connsiteY38" fmla="*/ 223520 h 1338580"/>
                <a:gd name="connsiteX39" fmla="*/ 881380 w 1219200"/>
                <a:gd name="connsiteY39" fmla="*/ 251460 h 1338580"/>
                <a:gd name="connsiteX40" fmla="*/ 881380 w 1219200"/>
                <a:gd name="connsiteY40" fmla="*/ 266700 h 1338580"/>
                <a:gd name="connsiteX41" fmla="*/ 977900 w 1219200"/>
                <a:gd name="connsiteY41" fmla="*/ 256540 h 1338580"/>
                <a:gd name="connsiteX42" fmla="*/ 1018540 w 1219200"/>
                <a:gd name="connsiteY42" fmla="*/ 266700 h 1338580"/>
                <a:gd name="connsiteX43" fmla="*/ 1026160 w 1219200"/>
                <a:gd name="connsiteY43" fmla="*/ 309880 h 1338580"/>
                <a:gd name="connsiteX44" fmla="*/ 1054100 w 1219200"/>
                <a:gd name="connsiteY44" fmla="*/ 340360 h 1338580"/>
                <a:gd name="connsiteX45" fmla="*/ 1061720 w 1219200"/>
                <a:gd name="connsiteY45" fmla="*/ 342900 h 1338580"/>
                <a:gd name="connsiteX46" fmla="*/ 1021080 w 1219200"/>
                <a:gd name="connsiteY46" fmla="*/ 393700 h 1338580"/>
                <a:gd name="connsiteX47" fmla="*/ 1010920 w 1219200"/>
                <a:gd name="connsiteY47" fmla="*/ 426720 h 1338580"/>
                <a:gd name="connsiteX48" fmla="*/ 1071880 w 1219200"/>
                <a:gd name="connsiteY48" fmla="*/ 472440 h 1338580"/>
                <a:gd name="connsiteX49" fmla="*/ 1135380 w 1219200"/>
                <a:gd name="connsiteY49" fmla="*/ 513080 h 1338580"/>
                <a:gd name="connsiteX50" fmla="*/ 1155700 w 1219200"/>
                <a:gd name="connsiteY50" fmla="*/ 574040 h 1338580"/>
                <a:gd name="connsiteX51" fmla="*/ 1163320 w 1219200"/>
                <a:gd name="connsiteY51" fmla="*/ 627380 h 1338580"/>
                <a:gd name="connsiteX52" fmla="*/ 1163320 w 1219200"/>
                <a:gd name="connsiteY52" fmla="*/ 685800 h 1338580"/>
                <a:gd name="connsiteX53" fmla="*/ 1158240 w 1219200"/>
                <a:gd name="connsiteY53" fmla="*/ 721360 h 1338580"/>
                <a:gd name="connsiteX54" fmla="*/ 1191260 w 1219200"/>
                <a:gd name="connsiteY54" fmla="*/ 769620 h 1338580"/>
                <a:gd name="connsiteX55" fmla="*/ 1216660 w 1219200"/>
                <a:gd name="connsiteY55" fmla="*/ 789940 h 1338580"/>
                <a:gd name="connsiteX56" fmla="*/ 1219200 w 1219200"/>
                <a:gd name="connsiteY56" fmla="*/ 845820 h 1338580"/>
                <a:gd name="connsiteX57" fmla="*/ 1198880 w 1219200"/>
                <a:gd name="connsiteY57" fmla="*/ 894080 h 1338580"/>
                <a:gd name="connsiteX58" fmla="*/ 1170940 w 1219200"/>
                <a:gd name="connsiteY58" fmla="*/ 932180 h 1338580"/>
                <a:gd name="connsiteX59" fmla="*/ 1143000 w 1219200"/>
                <a:gd name="connsiteY59" fmla="*/ 944880 h 1338580"/>
                <a:gd name="connsiteX60" fmla="*/ 1140460 w 1219200"/>
                <a:gd name="connsiteY60" fmla="*/ 965200 h 1338580"/>
                <a:gd name="connsiteX61" fmla="*/ 1135380 w 1219200"/>
                <a:gd name="connsiteY61" fmla="*/ 985520 h 1338580"/>
                <a:gd name="connsiteX62" fmla="*/ 1066800 w 1219200"/>
                <a:gd name="connsiteY62" fmla="*/ 993140 h 1338580"/>
                <a:gd name="connsiteX63" fmla="*/ 916940 w 1219200"/>
                <a:gd name="connsiteY63" fmla="*/ 1061720 h 1338580"/>
                <a:gd name="connsiteX64" fmla="*/ 792480 w 1219200"/>
                <a:gd name="connsiteY64" fmla="*/ 1168400 h 1338580"/>
                <a:gd name="connsiteX65" fmla="*/ 665480 w 1219200"/>
                <a:gd name="connsiteY65" fmla="*/ 1196340 h 1338580"/>
                <a:gd name="connsiteX66" fmla="*/ 637540 w 1219200"/>
                <a:gd name="connsiteY66" fmla="*/ 1290320 h 1338580"/>
                <a:gd name="connsiteX67" fmla="*/ 477520 w 1219200"/>
                <a:gd name="connsiteY67" fmla="*/ 1323340 h 1338580"/>
                <a:gd name="connsiteX68" fmla="*/ 411480 w 1219200"/>
                <a:gd name="connsiteY68" fmla="*/ 1267460 h 1338580"/>
                <a:gd name="connsiteX69" fmla="*/ 408940 w 1219200"/>
                <a:gd name="connsiteY69" fmla="*/ 1262380 h 1338580"/>
                <a:gd name="connsiteX70" fmla="*/ 386080 w 1219200"/>
                <a:gd name="connsiteY70" fmla="*/ 1303020 h 1338580"/>
                <a:gd name="connsiteX71" fmla="*/ 264160 w 1219200"/>
                <a:gd name="connsiteY71" fmla="*/ 1338580 h 1338580"/>
                <a:gd name="connsiteX72" fmla="*/ 124460 w 1219200"/>
                <a:gd name="connsiteY72" fmla="*/ 1315720 h 13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219200" h="1338580">
                  <a:moveTo>
                    <a:pt x="124460" y="1315720"/>
                  </a:moveTo>
                  <a:lnTo>
                    <a:pt x="205740" y="1234440"/>
                  </a:lnTo>
                  <a:lnTo>
                    <a:pt x="220980" y="1186180"/>
                  </a:lnTo>
                  <a:lnTo>
                    <a:pt x="154940" y="1112520"/>
                  </a:lnTo>
                  <a:lnTo>
                    <a:pt x="121920" y="1026160"/>
                  </a:lnTo>
                  <a:lnTo>
                    <a:pt x="160020" y="906780"/>
                  </a:lnTo>
                  <a:lnTo>
                    <a:pt x="132080" y="871220"/>
                  </a:lnTo>
                  <a:lnTo>
                    <a:pt x="60960" y="855980"/>
                  </a:lnTo>
                  <a:lnTo>
                    <a:pt x="38100" y="838200"/>
                  </a:lnTo>
                  <a:lnTo>
                    <a:pt x="38100" y="782320"/>
                  </a:lnTo>
                  <a:lnTo>
                    <a:pt x="30480" y="749300"/>
                  </a:lnTo>
                  <a:lnTo>
                    <a:pt x="0" y="647700"/>
                  </a:lnTo>
                  <a:lnTo>
                    <a:pt x="15240" y="584200"/>
                  </a:lnTo>
                  <a:lnTo>
                    <a:pt x="48260" y="558800"/>
                  </a:lnTo>
                  <a:lnTo>
                    <a:pt x="38100" y="474980"/>
                  </a:lnTo>
                  <a:lnTo>
                    <a:pt x="60960" y="444500"/>
                  </a:lnTo>
                  <a:lnTo>
                    <a:pt x="96520" y="396240"/>
                  </a:lnTo>
                  <a:lnTo>
                    <a:pt x="81280" y="302260"/>
                  </a:lnTo>
                  <a:lnTo>
                    <a:pt x="96520" y="274320"/>
                  </a:lnTo>
                  <a:lnTo>
                    <a:pt x="154940" y="254000"/>
                  </a:lnTo>
                  <a:lnTo>
                    <a:pt x="251460" y="281940"/>
                  </a:lnTo>
                  <a:lnTo>
                    <a:pt x="297180" y="287020"/>
                  </a:lnTo>
                  <a:lnTo>
                    <a:pt x="299720" y="226060"/>
                  </a:lnTo>
                  <a:lnTo>
                    <a:pt x="307340" y="167640"/>
                  </a:lnTo>
                  <a:lnTo>
                    <a:pt x="342900" y="160020"/>
                  </a:lnTo>
                  <a:lnTo>
                    <a:pt x="396240" y="167640"/>
                  </a:lnTo>
                  <a:lnTo>
                    <a:pt x="502920" y="149860"/>
                  </a:lnTo>
                  <a:lnTo>
                    <a:pt x="614680" y="106680"/>
                  </a:lnTo>
                  <a:lnTo>
                    <a:pt x="668020" y="20320"/>
                  </a:lnTo>
                  <a:lnTo>
                    <a:pt x="680720" y="7620"/>
                  </a:lnTo>
                  <a:lnTo>
                    <a:pt x="784860" y="0"/>
                  </a:lnTo>
                  <a:lnTo>
                    <a:pt x="795020" y="7620"/>
                  </a:lnTo>
                  <a:lnTo>
                    <a:pt x="805180" y="60960"/>
                  </a:lnTo>
                  <a:lnTo>
                    <a:pt x="927100" y="106680"/>
                  </a:lnTo>
                  <a:lnTo>
                    <a:pt x="937260" y="119380"/>
                  </a:lnTo>
                  <a:lnTo>
                    <a:pt x="825500" y="152400"/>
                  </a:lnTo>
                  <a:lnTo>
                    <a:pt x="815340" y="175260"/>
                  </a:lnTo>
                  <a:lnTo>
                    <a:pt x="830580" y="200660"/>
                  </a:lnTo>
                  <a:lnTo>
                    <a:pt x="868680" y="223520"/>
                  </a:lnTo>
                  <a:lnTo>
                    <a:pt x="881380" y="251460"/>
                  </a:lnTo>
                  <a:lnTo>
                    <a:pt x="881380" y="266700"/>
                  </a:lnTo>
                  <a:lnTo>
                    <a:pt x="977900" y="256540"/>
                  </a:lnTo>
                  <a:lnTo>
                    <a:pt x="1018540" y="266700"/>
                  </a:lnTo>
                  <a:lnTo>
                    <a:pt x="1026160" y="309880"/>
                  </a:lnTo>
                  <a:lnTo>
                    <a:pt x="1054100" y="340360"/>
                  </a:lnTo>
                  <a:lnTo>
                    <a:pt x="1061720" y="342900"/>
                  </a:lnTo>
                  <a:lnTo>
                    <a:pt x="1021080" y="393700"/>
                  </a:lnTo>
                  <a:lnTo>
                    <a:pt x="1010920" y="426720"/>
                  </a:lnTo>
                  <a:lnTo>
                    <a:pt x="1071880" y="472440"/>
                  </a:lnTo>
                  <a:lnTo>
                    <a:pt x="1135380" y="513080"/>
                  </a:lnTo>
                  <a:lnTo>
                    <a:pt x="1155700" y="574040"/>
                  </a:lnTo>
                  <a:lnTo>
                    <a:pt x="1163320" y="627380"/>
                  </a:lnTo>
                  <a:lnTo>
                    <a:pt x="1163320" y="685800"/>
                  </a:lnTo>
                  <a:lnTo>
                    <a:pt x="1158240" y="721360"/>
                  </a:lnTo>
                  <a:lnTo>
                    <a:pt x="1191260" y="769620"/>
                  </a:lnTo>
                  <a:lnTo>
                    <a:pt x="1216660" y="789940"/>
                  </a:lnTo>
                  <a:lnTo>
                    <a:pt x="1219200" y="845820"/>
                  </a:lnTo>
                  <a:lnTo>
                    <a:pt x="1198880" y="894080"/>
                  </a:lnTo>
                  <a:lnTo>
                    <a:pt x="1170940" y="932180"/>
                  </a:lnTo>
                  <a:lnTo>
                    <a:pt x="1143000" y="944880"/>
                  </a:lnTo>
                  <a:lnTo>
                    <a:pt x="1140460" y="965200"/>
                  </a:lnTo>
                  <a:lnTo>
                    <a:pt x="1135380" y="985520"/>
                  </a:lnTo>
                  <a:lnTo>
                    <a:pt x="1066800" y="993140"/>
                  </a:lnTo>
                  <a:lnTo>
                    <a:pt x="916940" y="1061720"/>
                  </a:lnTo>
                  <a:lnTo>
                    <a:pt x="792480" y="1168400"/>
                  </a:lnTo>
                  <a:lnTo>
                    <a:pt x="665480" y="1196340"/>
                  </a:lnTo>
                  <a:lnTo>
                    <a:pt x="637540" y="1290320"/>
                  </a:lnTo>
                  <a:lnTo>
                    <a:pt x="477520" y="1323340"/>
                  </a:lnTo>
                  <a:lnTo>
                    <a:pt x="411480" y="1267460"/>
                  </a:lnTo>
                  <a:lnTo>
                    <a:pt x="408940" y="1262380"/>
                  </a:lnTo>
                  <a:lnTo>
                    <a:pt x="386080" y="1303020"/>
                  </a:lnTo>
                  <a:lnTo>
                    <a:pt x="264160" y="1338580"/>
                  </a:lnTo>
                  <a:lnTo>
                    <a:pt x="124460" y="131572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54" name="任意多边形 95"/>
            <p:cNvSpPr/>
            <p:nvPr/>
          </p:nvSpPr>
          <p:spPr bwMode="gray">
            <a:xfrm>
              <a:off x="3931783" y="3411047"/>
              <a:ext cx="905920" cy="1405140"/>
            </a:xfrm>
            <a:custGeom>
              <a:avLst/>
              <a:gdLst>
                <a:gd name="connsiteX0" fmla="*/ 718820 w 1193800"/>
                <a:gd name="connsiteY0" fmla="*/ 0 h 1851660"/>
                <a:gd name="connsiteX1" fmla="*/ 764540 w 1193800"/>
                <a:gd name="connsiteY1" fmla="*/ 48260 h 1851660"/>
                <a:gd name="connsiteX2" fmla="*/ 789940 w 1193800"/>
                <a:gd name="connsiteY2" fmla="*/ 104140 h 1851660"/>
                <a:gd name="connsiteX3" fmla="*/ 855980 w 1193800"/>
                <a:gd name="connsiteY3" fmla="*/ 106680 h 1851660"/>
                <a:gd name="connsiteX4" fmla="*/ 904240 w 1193800"/>
                <a:gd name="connsiteY4" fmla="*/ 149860 h 1851660"/>
                <a:gd name="connsiteX5" fmla="*/ 947420 w 1193800"/>
                <a:gd name="connsiteY5" fmla="*/ 139700 h 1851660"/>
                <a:gd name="connsiteX6" fmla="*/ 952500 w 1193800"/>
                <a:gd name="connsiteY6" fmla="*/ 139700 h 1851660"/>
                <a:gd name="connsiteX7" fmla="*/ 988060 w 1193800"/>
                <a:gd name="connsiteY7" fmla="*/ 78740 h 1851660"/>
                <a:gd name="connsiteX8" fmla="*/ 1023620 w 1193800"/>
                <a:gd name="connsiteY8" fmla="*/ 68580 h 1851660"/>
                <a:gd name="connsiteX9" fmla="*/ 1054100 w 1193800"/>
                <a:gd name="connsiteY9" fmla="*/ 106680 h 1851660"/>
                <a:gd name="connsiteX10" fmla="*/ 1097280 w 1193800"/>
                <a:gd name="connsiteY10" fmla="*/ 185420 h 1851660"/>
                <a:gd name="connsiteX11" fmla="*/ 1117600 w 1193800"/>
                <a:gd name="connsiteY11" fmla="*/ 220980 h 1851660"/>
                <a:gd name="connsiteX12" fmla="*/ 1115060 w 1193800"/>
                <a:gd name="connsiteY12" fmla="*/ 256540 h 1851660"/>
                <a:gd name="connsiteX13" fmla="*/ 1059180 w 1193800"/>
                <a:gd name="connsiteY13" fmla="*/ 381000 h 1851660"/>
                <a:gd name="connsiteX14" fmla="*/ 1104900 w 1193800"/>
                <a:gd name="connsiteY14" fmla="*/ 469900 h 1851660"/>
                <a:gd name="connsiteX15" fmla="*/ 1102360 w 1193800"/>
                <a:gd name="connsiteY15" fmla="*/ 563880 h 1851660"/>
                <a:gd name="connsiteX16" fmla="*/ 1173480 w 1193800"/>
                <a:gd name="connsiteY16" fmla="*/ 668020 h 1851660"/>
                <a:gd name="connsiteX17" fmla="*/ 1193800 w 1193800"/>
                <a:gd name="connsiteY17" fmla="*/ 828040 h 1851660"/>
                <a:gd name="connsiteX18" fmla="*/ 1155700 w 1193800"/>
                <a:gd name="connsiteY18" fmla="*/ 891540 h 1851660"/>
                <a:gd name="connsiteX19" fmla="*/ 1163320 w 1193800"/>
                <a:gd name="connsiteY19" fmla="*/ 1000760 h 1851660"/>
                <a:gd name="connsiteX20" fmla="*/ 1089660 w 1193800"/>
                <a:gd name="connsiteY20" fmla="*/ 1102360 h 1851660"/>
                <a:gd name="connsiteX21" fmla="*/ 1059180 w 1193800"/>
                <a:gd name="connsiteY21" fmla="*/ 1198880 h 1851660"/>
                <a:gd name="connsiteX22" fmla="*/ 1074420 w 1193800"/>
                <a:gd name="connsiteY22" fmla="*/ 1272540 h 1851660"/>
                <a:gd name="connsiteX23" fmla="*/ 1026160 w 1193800"/>
                <a:gd name="connsiteY23" fmla="*/ 1308100 h 1851660"/>
                <a:gd name="connsiteX24" fmla="*/ 1021080 w 1193800"/>
                <a:gd name="connsiteY24" fmla="*/ 1369060 h 1851660"/>
                <a:gd name="connsiteX25" fmla="*/ 998220 w 1193800"/>
                <a:gd name="connsiteY25" fmla="*/ 1409700 h 1851660"/>
                <a:gd name="connsiteX26" fmla="*/ 949960 w 1193800"/>
                <a:gd name="connsiteY26" fmla="*/ 1409700 h 1851660"/>
                <a:gd name="connsiteX27" fmla="*/ 896620 w 1193800"/>
                <a:gd name="connsiteY27" fmla="*/ 1468120 h 1851660"/>
                <a:gd name="connsiteX28" fmla="*/ 845820 w 1193800"/>
                <a:gd name="connsiteY28" fmla="*/ 1577340 h 1851660"/>
                <a:gd name="connsiteX29" fmla="*/ 734060 w 1193800"/>
                <a:gd name="connsiteY29" fmla="*/ 1628140 h 1851660"/>
                <a:gd name="connsiteX30" fmla="*/ 680720 w 1193800"/>
                <a:gd name="connsiteY30" fmla="*/ 1742440 h 1851660"/>
                <a:gd name="connsiteX31" fmla="*/ 660400 w 1193800"/>
                <a:gd name="connsiteY31" fmla="*/ 1813560 h 1851660"/>
                <a:gd name="connsiteX32" fmla="*/ 566420 w 1193800"/>
                <a:gd name="connsiteY32" fmla="*/ 1836420 h 1851660"/>
                <a:gd name="connsiteX33" fmla="*/ 528320 w 1193800"/>
                <a:gd name="connsiteY33" fmla="*/ 1849120 h 1851660"/>
                <a:gd name="connsiteX34" fmla="*/ 419100 w 1193800"/>
                <a:gd name="connsiteY34" fmla="*/ 1849120 h 1851660"/>
                <a:gd name="connsiteX35" fmla="*/ 408940 w 1193800"/>
                <a:gd name="connsiteY35" fmla="*/ 1851660 h 1851660"/>
                <a:gd name="connsiteX36" fmla="*/ 383540 w 1193800"/>
                <a:gd name="connsiteY36" fmla="*/ 1800860 h 1851660"/>
                <a:gd name="connsiteX37" fmla="*/ 312420 w 1193800"/>
                <a:gd name="connsiteY37" fmla="*/ 1750060 h 1851660"/>
                <a:gd name="connsiteX38" fmla="*/ 246380 w 1193800"/>
                <a:gd name="connsiteY38" fmla="*/ 1742440 h 1851660"/>
                <a:gd name="connsiteX39" fmla="*/ 220980 w 1193800"/>
                <a:gd name="connsiteY39" fmla="*/ 1719580 h 1851660"/>
                <a:gd name="connsiteX40" fmla="*/ 205740 w 1193800"/>
                <a:gd name="connsiteY40" fmla="*/ 1567180 h 1851660"/>
                <a:gd name="connsiteX41" fmla="*/ 177800 w 1193800"/>
                <a:gd name="connsiteY41" fmla="*/ 1503680 h 1851660"/>
                <a:gd name="connsiteX42" fmla="*/ 91440 w 1193800"/>
                <a:gd name="connsiteY42" fmla="*/ 1468120 h 1851660"/>
                <a:gd name="connsiteX43" fmla="*/ 73660 w 1193800"/>
                <a:gd name="connsiteY43" fmla="*/ 1404620 h 1851660"/>
                <a:gd name="connsiteX44" fmla="*/ 45720 w 1193800"/>
                <a:gd name="connsiteY44" fmla="*/ 1376680 h 1851660"/>
                <a:gd name="connsiteX45" fmla="*/ 0 w 1193800"/>
                <a:gd name="connsiteY45" fmla="*/ 1356360 h 1851660"/>
                <a:gd name="connsiteX46" fmla="*/ 63500 w 1193800"/>
                <a:gd name="connsiteY46" fmla="*/ 1257300 h 1851660"/>
                <a:gd name="connsiteX47" fmla="*/ 157480 w 1193800"/>
                <a:gd name="connsiteY47" fmla="*/ 1229360 h 1851660"/>
                <a:gd name="connsiteX48" fmla="*/ 228600 w 1193800"/>
                <a:gd name="connsiteY48" fmla="*/ 1137920 h 1851660"/>
                <a:gd name="connsiteX49" fmla="*/ 302260 w 1193800"/>
                <a:gd name="connsiteY49" fmla="*/ 1092200 h 1851660"/>
                <a:gd name="connsiteX50" fmla="*/ 383540 w 1193800"/>
                <a:gd name="connsiteY50" fmla="*/ 1102360 h 1851660"/>
                <a:gd name="connsiteX51" fmla="*/ 414020 w 1193800"/>
                <a:gd name="connsiteY51" fmla="*/ 1099820 h 1851660"/>
                <a:gd name="connsiteX52" fmla="*/ 467360 w 1193800"/>
                <a:gd name="connsiteY52" fmla="*/ 1203960 h 1851660"/>
                <a:gd name="connsiteX53" fmla="*/ 640080 w 1193800"/>
                <a:gd name="connsiteY53" fmla="*/ 1216660 h 1851660"/>
                <a:gd name="connsiteX54" fmla="*/ 662940 w 1193800"/>
                <a:gd name="connsiteY54" fmla="*/ 1176020 h 1851660"/>
                <a:gd name="connsiteX55" fmla="*/ 650240 w 1193800"/>
                <a:gd name="connsiteY55" fmla="*/ 1120140 h 1851660"/>
                <a:gd name="connsiteX56" fmla="*/ 607060 w 1193800"/>
                <a:gd name="connsiteY56" fmla="*/ 1099820 h 1851660"/>
                <a:gd name="connsiteX57" fmla="*/ 591820 w 1193800"/>
                <a:gd name="connsiteY57" fmla="*/ 1079500 h 1851660"/>
                <a:gd name="connsiteX58" fmla="*/ 563880 w 1193800"/>
                <a:gd name="connsiteY58" fmla="*/ 995680 h 1851660"/>
                <a:gd name="connsiteX59" fmla="*/ 528320 w 1193800"/>
                <a:gd name="connsiteY59" fmla="*/ 982980 h 1851660"/>
                <a:gd name="connsiteX60" fmla="*/ 551180 w 1193800"/>
                <a:gd name="connsiteY60" fmla="*/ 937260 h 1851660"/>
                <a:gd name="connsiteX61" fmla="*/ 533400 w 1193800"/>
                <a:gd name="connsiteY61" fmla="*/ 759460 h 1851660"/>
                <a:gd name="connsiteX62" fmla="*/ 548640 w 1193800"/>
                <a:gd name="connsiteY62" fmla="*/ 739140 h 1851660"/>
                <a:gd name="connsiteX63" fmla="*/ 601980 w 1193800"/>
                <a:gd name="connsiteY63" fmla="*/ 774700 h 1851660"/>
                <a:gd name="connsiteX64" fmla="*/ 650240 w 1193800"/>
                <a:gd name="connsiteY64" fmla="*/ 767080 h 1851660"/>
                <a:gd name="connsiteX65" fmla="*/ 647700 w 1193800"/>
                <a:gd name="connsiteY65" fmla="*/ 734060 h 1851660"/>
                <a:gd name="connsiteX66" fmla="*/ 604520 w 1193800"/>
                <a:gd name="connsiteY66" fmla="*/ 647700 h 1851660"/>
                <a:gd name="connsiteX67" fmla="*/ 568960 w 1193800"/>
                <a:gd name="connsiteY67" fmla="*/ 622300 h 1851660"/>
                <a:gd name="connsiteX68" fmla="*/ 538480 w 1193800"/>
                <a:gd name="connsiteY68" fmla="*/ 617220 h 1851660"/>
                <a:gd name="connsiteX69" fmla="*/ 495300 w 1193800"/>
                <a:gd name="connsiteY69" fmla="*/ 627380 h 1851660"/>
                <a:gd name="connsiteX70" fmla="*/ 429260 w 1193800"/>
                <a:gd name="connsiteY70" fmla="*/ 723900 h 1851660"/>
                <a:gd name="connsiteX71" fmla="*/ 386080 w 1193800"/>
                <a:gd name="connsiteY71" fmla="*/ 751840 h 1851660"/>
                <a:gd name="connsiteX72" fmla="*/ 307340 w 1193800"/>
                <a:gd name="connsiteY72" fmla="*/ 693420 h 1851660"/>
                <a:gd name="connsiteX73" fmla="*/ 332740 w 1193800"/>
                <a:gd name="connsiteY73" fmla="*/ 612140 h 1851660"/>
                <a:gd name="connsiteX74" fmla="*/ 325120 w 1193800"/>
                <a:gd name="connsiteY74" fmla="*/ 596900 h 1851660"/>
                <a:gd name="connsiteX75" fmla="*/ 254000 w 1193800"/>
                <a:gd name="connsiteY75" fmla="*/ 601980 h 1851660"/>
                <a:gd name="connsiteX76" fmla="*/ 246380 w 1193800"/>
                <a:gd name="connsiteY76" fmla="*/ 576580 h 1851660"/>
                <a:gd name="connsiteX77" fmla="*/ 281940 w 1193800"/>
                <a:gd name="connsiteY77" fmla="*/ 472440 h 1851660"/>
                <a:gd name="connsiteX78" fmla="*/ 337820 w 1193800"/>
                <a:gd name="connsiteY78" fmla="*/ 462280 h 1851660"/>
                <a:gd name="connsiteX79" fmla="*/ 396240 w 1193800"/>
                <a:gd name="connsiteY79" fmla="*/ 414020 h 1851660"/>
                <a:gd name="connsiteX80" fmla="*/ 406400 w 1193800"/>
                <a:gd name="connsiteY80" fmla="*/ 360680 h 1851660"/>
                <a:gd name="connsiteX81" fmla="*/ 505460 w 1193800"/>
                <a:gd name="connsiteY81" fmla="*/ 342900 h 1851660"/>
                <a:gd name="connsiteX82" fmla="*/ 591820 w 1193800"/>
                <a:gd name="connsiteY82" fmla="*/ 132080 h 1851660"/>
                <a:gd name="connsiteX83" fmla="*/ 685800 w 1193800"/>
                <a:gd name="connsiteY83" fmla="*/ 63500 h 1851660"/>
                <a:gd name="connsiteX84" fmla="*/ 718820 w 1193800"/>
                <a:gd name="connsiteY84" fmla="*/ 0 h 1851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193800" h="1851660">
                  <a:moveTo>
                    <a:pt x="718820" y="0"/>
                  </a:moveTo>
                  <a:lnTo>
                    <a:pt x="764540" y="48260"/>
                  </a:lnTo>
                  <a:lnTo>
                    <a:pt x="789940" y="104140"/>
                  </a:lnTo>
                  <a:lnTo>
                    <a:pt x="855980" y="106680"/>
                  </a:lnTo>
                  <a:lnTo>
                    <a:pt x="904240" y="149860"/>
                  </a:lnTo>
                  <a:lnTo>
                    <a:pt x="947420" y="139700"/>
                  </a:lnTo>
                  <a:lnTo>
                    <a:pt x="952500" y="139700"/>
                  </a:lnTo>
                  <a:lnTo>
                    <a:pt x="988060" y="78740"/>
                  </a:lnTo>
                  <a:lnTo>
                    <a:pt x="1023620" y="68580"/>
                  </a:lnTo>
                  <a:lnTo>
                    <a:pt x="1054100" y="106680"/>
                  </a:lnTo>
                  <a:lnTo>
                    <a:pt x="1097280" y="185420"/>
                  </a:lnTo>
                  <a:lnTo>
                    <a:pt x="1117600" y="220980"/>
                  </a:lnTo>
                  <a:lnTo>
                    <a:pt x="1115060" y="256540"/>
                  </a:lnTo>
                  <a:lnTo>
                    <a:pt x="1059180" y="381000"/>
                  </a:lnTo>
                  <a:lnTo>
                    <a:pt x="1104900" y="469900"/>
                  </a:lnTo>
                  <a:cubicBezTo>
                    <a:pt x="1104053" y="501227"/>
                    <a:pt x="1103207" y="532553"/>
                    <a:pt x="1102360" y="563880"/>
                  </a:cubicBezTo>
                  <a:lnTo>
                    <a:pt x="1173480" y="668020"/>
                  </a:lnTo>
                  <a:lnTo>
                    <a:pt x="1193800" y="828040"/>
                  </a:lnTo>
                  <a:lnTo>
                    <a:pt x="1155700" y="891540"/>
                  </a:lnTo>
                  <a:lnTo>
                    <a:pt x="1163320" y="1000760"/>
                  </a:lnTo>
                  <a:lnTo>
                    <a:pt x="1089660" y="1102360"/>
                  </a:lnTo>
                  <a:lnTo>
                    <a:pt x="1059180" y="1198880"/>
                  </a:lnTo>
                  <a:lnTo>
                    <a:pt x="1074420" y="1272540"/>
                  </a:lnTo>
                  <a:lnTo>
                    <a:pt x="1026160" y="1308100"/>
                  </a:lnTo>
                  <a:lnTo>
                    <a:pt x="1021080" y="1369060"/>
                  </a:lnTo>
                  <a:lnTo>
                    <a:pt x="998220" y="1409700"/>
                  </a:lnTo>
                  <a:lnTo>
                    <a:pt x="949960" y="1409700"/>
                  </a:lnTo>
                  <a:lnTo>
                    <a:pt x="896620" y="1468120"/>
                  </a:lnTo>
                  <a:lnTo>
                    <a:pt x="845820" y="1577340"/>
                  </a:lnTo>
                  <a:lnTo>
                    <a:pt x="734060" y="1628140"/>
                  </a:lnTo>
                  <a:lnTo>
                    <a:pt x="680720" y="1742440"/>
                  </a:lnTo>
                  <a:lnTo>
                    <a:pt x="660400" y="1813560"/>
                  </a:lnTo>
                  <a:lnTo>
                    <a:pt x="566420" y="1836420"/>
                  </a:lnTo>
                  <a:lnTo>
                    <a:pt x="528320" y="1849120"/>
                  </a:lnTo>
                  <a:lnTo>
                    <a:pt x="419100" y="1849120"/>
                  </a:lnTo>
                  <a:lnTo>
                    <a:pt x="408940" y="1851660"/>
                  </a:lnTo>
                  <a:lnTo>
                    <a:pt x="383540" y="1800860"/>
                  </a:lnTo>
                  <a:lnTo>
                    <a:pt x="312420" y="1750060"/>
                  </a:lnTo>
                  <a:lnTo>
                    <a:pt x="246380" y="1742440"/>
                  </a:lnTo>
                  <a:lnTo>
                    <a:pt x="220980" y="1719580"/>
                  </a:lnTo>
                  <a:lnTo>
                    <a:pt x="205740" y="1567180"/>
                  </a:lnTo>
                  <a:lnTo>
                    <a:pt x="177800" y="1503680"/>
                  </a:lnTo>
                  <a:lnTo>
                    <a:pt x="91440" y="1468120"/>
                  </a:lnTo>
                  <a:lnTo>
                    <a:pt x="73660" y="1404620"/>
                  </a:lnTo>
                  <a:lnTo>
                    <a:pt x="45720" y="1376680"/>
                  </a:lnTo>
                  <a:lnTo>
                    <a:pt x="0" y="1356360"/>
                  </a:lnTo>
                  <a:lnTo>
                    <a:pt x="63500" y="1257300"/>
                  </a:lnTo>
                  <a:lnTo>
                    <a:pt x="157480" y="1229360"/>
                  </a:lnTo>
                  <a:lnTo>
                    <a:pt x="228600" y="1137920"/>
                  </a:lnTo>
                  <a:lnTo>
                    <a:pt x="302260" y="1092200"/>
                  </a:lnTo>
                  <a:lnTo>
                    <a:pt x="383540" y="1102360"/>
                  </a:lnTo>
                  <a:lnTo>
                    <a:pt x="414020" y="1099820"/>
                  </a:lnTo>
                  <a:lnTo>
                    <a:pt x="467360" y="1203960"/>
                  </a:lnTo>
                  <a:lnTo>
                    <a:pt x="640080" y="1216660"/>
                  </a:lnTo>
                  <a:lnTo>
                    <a:pt x="662940" y="1176020"/>
                  </a:lnTo>
                  <a:lnTo>
                    <a:pt x="650240" y="1120140"/>
                  </a:lnTo>
                  <a:lnTo>
                    <a:pt x="607060" y="1099820"/>
                  </a:lnTo>
                  <a:lnTo>
                    <a:pt x="591820" y="1079500"/>
                  </a:lnTo>
                  <a:lnTo>
                    <a:pt x="563880" y="995680"/>
                  </a:lnTo>
                  <a:lnTo>
                    <a:pt x="528320" y="982980"/>
                  </a:lnTo>
                  <a:lnTo>
                    <a:pt x="551180" y="937260"/>
                  </a:lnTo>
                  <a:lnTo>
                    <a:pt x="533400" y="759460"/>
                  </a:lnTo>
                  <a:lnTo>
                    <a:pt x="548640" y="739140"/>
                  </a:lnTo>
                  <a:lnTo>
                    <a:pt x="601980" y="774700"/>
                  </a:lnTo>
                  <a:lnTo>
                    <a:pt x="650240" y="767080"/>
                  </a:lnTo>
                  <a:lnTo>
                    <a:pt x="647700" y="734060"/>
                  </a:lnTo>
                  <a:lnTo>
                    <a:pt x="604520" y="647700"/>
                  </a:lnTo>
                  <a:lnTo>
                    <a:pt x="568960" y="622300"/>
                  </a:lnTo>
                  <a:lnTo>
                    <a:pt x="538480" y="617220"/>
                  </a:lnTo>
                  <a:lnTo>
                    <a:pt x="495300" y="627380"/>
                  </a:lnTo>
                  <a:lnTo>
                    <a:pt x="429260" y="723900"/>
                  </a:lnTo>
                  <a:lnTo>
                    <a:pt x="386080" y="751840"/>
                  </a:lnTo>
                  <a:lnTo>
                    <a:pt x="307340" y="693420"/>
                  </a:lnTo>
                  <a:lnTo>
                    <a:pt x="332740" y="612140"/>
                  </a:lnTo>
                  <a:lnTo>
                    <a:pt x="325120" y="596900"/>
                  </a:lnTo>
                  <a:lnTo>
                    <a:pt x="254000" y="601980"/>
                  </a:lnTo>
                  <a:lnTo>
                    <a:pt x="246380" y="576580"/>
                  </a:lnTo>
                  <a:lnTo>
                    <a:pt x="281940" y="472440"/>
                  </a:lnTo>
                  <a:lnTo>
                    <a:pt x="337820" y="462280"/>
                  </a:lnTo>
                  <a:lnTo>
                    <a:pt x="396240" y="414020"/>
                  </a:lnTo>
                  <a:lnTo>
                    <a:pt x="406400" y="360680"/>
                  </a:lnTo>
                  <a:lnTo>
                    <a:pt x="505460" y="342900"/>
                  </a:lnTo>
                  <a:lnTo>
                    <a:pt x="591820" y="132080"/>
                  </a:lnTo>
                  <a:lnTo>
                    <a:pt x="685800" y="63500"/>
                  </a:lnTo>
                  <a:lnTo>
                    <a:pt x="718820" y="0"/>
                  </a:lnTo>
                  <a:close/>
                </a:path>
              </a:pathLst>
            </a:custGeom>
            <a:grpFill/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67" name="组合 152"/>
          <p:cNvGrpSpPr/>
          <p:nvPr/>
        </p:nvGrpSpPr>
        <p:grpSpPr>
          <a:xfrm>
            <a:off x="5715912" y="4355689"/>
            <a:ext cx="148416" cy="148416"/>
            <a:chOff x="5485448" y="4993640"/>
            <a:chExt cx="243840" cy="243840"/>
          </a:xfrm>
        </p:grpSpPr>
        <p:sp>
          <p:nvSpPr>
            <p:cNvPr id="368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9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0" name="组合 152"/>
          <p:cNvGrpSpPr/>
          <p:nvPr/>
        </p:nvGrpSpPr>
        <p:grpSpPr>
          <a:xfrm>
            <a:off x="5853143" y="4815445"/>
            <a:ext cx="148416" cy="148416"/>
            <a:chOff x="5485448" y="4993640"/>
            <a:chExt cx="243840" cy="243840"/>
          </a:xfrm>
        </p:grpSpPr>
        <p:sp>
          <p:nvSpPr>
            <p:cNvPr id="371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2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3" name="组合 152"/>
          <p:cNvGrpSpPr/>
          <p:nvPr/>
        </p:nvGrpSpPr>
        <p:grpSpPr>
          <a:xfrm>
            <a:off x="3173755" y="4560656"/>
            <a:ext cx="148416" cy="148416"/>
            <a:chOff x="5485448" y="4993640"/>
            <a:chExt cx="243840" cy="243840"/>
          </a:xfrm>
        </p:grpSpPr>
        <p:sp>
          <p:nvSpPr>
            <p:cNvPr id="374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5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6" name="组合 152"/>
          <p:cNvGrpSpPr/>
          <p:nvPr/>
        </p:nvGrpSpPr>
        <p:grpSpPr>
          <a:xfrm>
            <a:off x="3933976" y="3558616"/>
            <a:ext cx="148416" cy="148416"/>
            <a:chOff x="5485448" y="4993640"/>
            <a:chExt cx="243840" cy="243840"/>
          </a:xfrm>
        </p:grpSpPr>
        <p:sp>
          <p:nvSpPr>
            <p:cNvPr id="377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78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79" name="组合 152"/>
          <p:cNvGrpSpPr/>
          <p:nvPr/>
        </p:nvGrpSpPr>
        <p:grpSpPr>
          <a:xfrm>
            <a:off x="3662887" y="3968555"/>
            <a:ext cx="148416" cy="148416"/>
            <a:chOff x="5485448" y="4993640"/>
            <a:chExt cx="243840" cy="243840"/>
          </a:xfrm>
        </p:grpSpPr>
        <p:sp>
          <p:nvSpPr>
            <p:cNvPr id="380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1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2" name="组合 152"/>
          <p:cNvGrpSpPr/>
          <p:nvPr/>
        </p:nvGrpSpPr>
        <p:grpSpPr>
          <a:xfrm>
            <a:off x="4147472" y="3345257"/>
            <a:ext cx="148416" cy="148416"/>
            <a:chOff x="5485448" y="4993640"/>
            <a:chExt cx="243840" cy="243840"/>
          </a:xfrm>
        </p:grpSpPr>
        <p:sp>
          <p:nvSpPr>
            <p:cNvPr id="383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4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5" name="组合 152"/>
          <p:cNvGrpSpPr/>
          <p:nvPr/>
        </p:nvGrpSpPr>
        <p:grpSpPr>
          <a:xfrm>
            <a:off x="4436689" y="2945572"/>
            <a:ext cx="148416" cy="148416"/>
            <a:chOff x="5485448" y="4993640"/>
            <a:chExt cx="243840" cy="243840"/>
          </a:xfrm>
        </p:grpSpPr>
        <p:sp>
          <p:nvSpPr>
            <p:cNvPr id="386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87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8" name="组合 152"/>
          <p:cNvGrpSpPr/>
          <p:nvPr/>
        </p:nvGrpSpPr>
        <p:grpSpPr>
          <a:xfrm>
            <a:off x="4579361" y="2109815"/>
            <a:ext cx="148416" cy="148416"/>
            <a:chOff x="5485448" y="4993640"/>
            <a:chExt cx="243840" cy="243840"/>
          </a:xfrm>
        </p:grpSpPr>
        <p:sp>
          <p:nvSpPr>
            <p:cNvPr id="389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0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4" name="组合 152"/>
          <p:cNvGrpSpPr/>
          <p:nvPr/>
        </p:nvGrpSpPr>
        <p:grpSpPr>
          <a:xfrm>
            <a:off x="4737607" y="3385493"/>
            <a:ext cx="148416" cy="148416"/>
            <a:chOff x="5485448" y="4993640"/>
            <a:chExt cx="243840" cy="243840"/>
          </a:xfrm>
        </p:grpSpPr>
        <p:sp>
          <p:nvSpPr>
            <p:cNvPr id="395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6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97" name="组合 152"/>
          <p:cNvGrpSpPr/>
          <p:nvPr/>
        </p:nvGrpSpPr>
        <p:grpSpPr>
          <a:xfrm>
            <a:off x="5323785" y="3532560"/>
            <a:ext cx="148416" cy="148416"/>
            <a:chOff x="5485448" y="4993640"/>
            <a:chExt cx="243840" cy="243840"/>
          </a:xfrm>
        </p:grpSpPr>
        <p:sp>
          <p:nvSpPr>
            <p:cNvPr id="398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99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29" name="矩形 203"/>
          <p:cNvSpPr/>
          <p:nvPr/>
        </p:nvSpPr>
        <p:spPr bwMode="gray">
          <a:xfrm>
            <a:off x="6670428" y="1637916"/>
            <a:ext cx="1788704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临</a:t>
            </a:r>
            <a:r>
              <a:rPr lang="zh-CN" altLang="en-US" sz="1400" b="1" i="1" dirty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港经济开发区</a:t>
            </a:r>
          </a:p>
        </p:txBody>
      </p:sp>
      <p:cxnSp>
        <p:nvCxnSpPr>
          <p:cNvPr id="430" name="Elbow Connector 429"/>
          <p:cNvCxnSpPr/>
          <p:nvPr/>
        </p:nvCxnSpPr>
        <p:spPr>
          <a:xfrm>
            <a:off x="2755112" y="1795475"/>
            <a:ext cx="1877129" cy="388548"/>
          </a:xfrm>
          <a:prstGeom prst="bentConnector2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1" name="Elbow Connector 430"/>
          <p:cNvCxnSpPr>
            <a:stCxn id="494" idx="3"/>
            <a:endCxn id="387" idx="0"/>
          </p:cNvCxnSpPr>
          <p:nvPr/>
        </p:nvCxnSpPr>
        <p:spPr>
          <a:xfrm>
            <a:off x="2839725" y="2544496"/>
            <a:ext cx="1671172" cy="420647"/>
          </a:xfrm>
          <a:prstGeom prst="bentConnector2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3" name="Elbow Connector 432"/>
          <p:cNvCxnSpPr>
            <a:stCxn id="396" idx="6"/>
            <a:endCxn id="429" idx="1"/>
          </p:cNvCxnSpPr>
          <p:nvPr/>
        </p:nvCxnSpPr>
        <p:spPr>
          <a:xfrm flipV="1">
            <a:off x="4866452" y="1781916"/>
            <a:ext cx="1803976" cy="1677785"/>
          </a:xfrm>
          <a:prstGeom prst="bentConnector3">
            <a:avLst>
              <a:gd name="adj1" fmla="val 29128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6" name="Elbow Connector 435"/>
          <p:cNvCxnSpPr>
            <a:stCxn id="369" idx="6"/>
            <a:endCxn id="467" idx="1"/>
          </p:cNvCxnSpPr>
          <p:nvPr/>
        </p:nvCxnSpPr>
        <p:spPr>
          <a:xfrm>
            <a:off x="5844757" y="4429897"/>
            <a:ext cx="922495" cy="540582"/>
          </a:xfrm>
          <a:prstGeom prst="bentConnector3">
            <a:avLst>
              <a:gd name="adj1" fmla="val 61661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Elbow Connector 436"/>
          <p:cNvCxnSpPr>
            <a:stCxn id="375" idx="5"/>
            <a:endCxn id="497" idx="0"/>
          </p:cNvCxnSpPr>
          <p:nvPr/>
        </p:nvCxnSpPr>
        <p:spPr>
          <a:xfrm rot="16200000" flipH="1">
            <a:off x="2918272" y="5041822"/>
            <a:ext cx="939213" cy="20256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5" name="矩形 203"/>
          <p:cNvSpPr/>
          <p:nvPr/>
        </p:nvSpPr>
        <p:spPr bwMode="gray">
          <a:xfrm>
            <a:off x="6645452" y="2433639"/>
            <a:ext cx="1838657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明水经济技术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7" name="矩形 203"/>
          <p:cNvSpPr/>
          <p:nvPr/>
        </p:nvSpPr>
        <p:spPr bwMode="gray">
          <a:xfrm>
            <a:off x="6767252" y="4826479"/>
            <a:ext cx="148610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莱芜高新技术</a:t>
            </a:r>
            <a:endParaRPr lang="en-US" altLang="zh-CN" sz="1400" b="1" i="1" dirty="0" smtClean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1" name="矩形 203"/>
          <p:cNvSpPr/>
          <p:nvPr/>
        </p:nvSpPr>
        <p:spPr bwMode="gray">
          <a:xfrm>
            <a:off x="4806993" y="5612711"/>
            <a:ext cx="2174715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山东济南钢城经济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3" name="矩形 203"/>
          <p:cNvSpPr/>
          <p:nvPr/>
        </p:nvSpPr>
        <p:spPr bwMode="gray">
          <a:xfrm>
            <a:off x="871369" y="1661386"/>
            <a:ext cx="1930187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山东商河经济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4" name="矩形 203"/>
          <p:cNvSpPr/>
          <p:nvPr/>
        </p:nvSpPr>
        <p:spPr bwMode="gray">
          <a:xfrm>
            <a:off x="959370" y="2400496"/>
            <a:ext cx="1880355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济</a:t>
            </a:r>
            <a:r>
              <a:rPr lang="zh-CN" altLang="en-US" sz="1400" b="1" i="1" dirty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经济开发区</a:t>
            </a:r>
          </a:p>
        </p:txBody>
      </p:sp>
      <p:sp>
        <p:nvSpPr>
          <p:cNvPr id="495" name="矩形 203"/>
          <p:cNvSpPr/>
          <p:nvPr/>
        </p:nvSpPr>
        <p:spPr bwMode="gray">
          <a:xfrm>
            <a:off x="871369" y="3743616"/>
            <a:ext cx="1864157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槐</a:t>
            </a:r>
            <a:r>
              <a:rPr lang="zh-CN" altLang="en-US" sz="1400" b="1" i="1" dirty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荫经济开发区</a:t>
            </a:r>
          </a:p>
        </p:txBody>
      </p:sp>
      <p:sp>
        <p:nvSpPr>
          <p:cNvPr id="496" name="矩形 203"/>
          <p:cNvSpPr/>
          <p:nvPr/>
        </p:nvSpPr>
        <p:spPr bwMode="gray">
          <a:xfrm>
            <a:off x="959370" y="4504105"/>
            <a:ext cx="148610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经济开发区</a:t>
            </a:r>
          </a:p>
        </p:txBody>
      </p:sp>
      <p:sp>
        <p:nvSpPr>
          <p:cNvPr id="497" name="矩形 203"/>
          <p:cNvSpPr/>
          <p:nvPr/>
        </p:nvSpPr>
        <p:spPr bwMode="gray">
          <a:xfrm>
            <a:off x="2574156" y="5612711"/>
            <a:ext cx="183000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山东平阴经济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8" name="矩形 203"/>
          <p:cNvSpPr/>
          <p:nvPr/>
        </p:nvSpPr>
        <p:spPr bwMode="gray">
          <a:xfrm>
            <a:off x="959371" y="3092203"/>
            <a:ext cx="1876756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新材料产业园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3" name="组合 152"/>
          <p:cNvGrpSpPr/>
          <p:nvPr/>
        </p:nvGrpSpPr>
        <p:grpSpPr>
          <a:xfrm>
            <a:off x="4751800" y="3622913"/>
            <a:ext cx="148416" cy="148416"/>
            <a:chOff x="5485448" y="4993640"/>
            <a:chExt cx="243840" cy="243840"/>
          </a:xfrm>
        </p:grpSpPr>
        <p:sp>
          <p:nvSpPr>
            <p:cNvPr id="264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5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260" name="肘形连接符 259"/>
          <p:cNvCxnSpPr>
            <a:stCxn id="399" idx="6"/>
            <a:endCxn id="455" idx="1"/>
          </p:cNvCxnSpPr>
          <p:nvPr/>
        </p:nvCxnSpPr>
        <p:spPr>
          <a:xfrm flipV="1">
            <a:off x="5452630" y="2577639"/>
            <a:ext cx="1192822" cy="1029129"/>
          </a:xfrm>
          <a:prstGeom prst="bentConnector3">
            <a:avLst>
              <a:gd name="adj1" fmla="val 14827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肘形连接符 266"/>
          <p:cNvCxnSpPr>
            <a:stCxn id="384" idx="4"/>
            <a:endCxn id="548" idx="3"/>
          </p:cNvCxnSpPr>
          <p:nvPr/>
        </p:nvCxnSpPr>
        <p:spPr>
          <a:xfrm rot="5400000" flipH="1">
            <a:off x="3409954" y="2662377"/>
            <a:ext cx="237899" cy="1385553"/>
          </a:xfrm>
          <a:prstGeom prst="bentConnector4">
            <a:avLst>
              <a:gd name="adj1" fmla="val 102874"/>
              <a:gd name="adj2" fmla="val 51972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矩形 203"/>
          <p:cNvSpPr/>
          <p:nvPr/>
        </p:nvSpPr>
        <p:spPr bwMode="gray">
          <a:xfrm>
            <a:off x="6767255" y="3954936"/>
            <a:ext cx="1486108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济南高新技术</a:t>
            </a:r>
            <a:endParaRPr lang="en-US" altLang="zh-CN" sz="1400" b="1" i="1" dirty="0" smtClean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产业开发区</a:t>
            </a:r>
            <a:endParaRPr lang="zh-CN" altLang="en-US" sz="1400" b="1" i="1" dirty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71" name="肘形连接符 270"/>
          <p:cNvCxnSpPr>
            <a:stCxn id="265" idx="4"/>
          </p:cNvCxnSpPr>
          <p:nvPr/>
        </p:nvCxnSpPr>
        <p:spPr>
          <a:xfrm rot="16200000" flipH="1">
            <a:off x="5651129" y="2926637"/>
            <a:ext cx="291005" cy="1941246"/>
          </a:xfrm>
          <a:prstGeom prst="bentConnector2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8" name="组合 152"/>
          <p:cNvGrpSpPr/>
          <p:nvPr/>
        </p:nvGrpSpPr>
        <p:grpSpPr>
          <a:xfrm>
            <a:off x="4819947" y="3663444"/>
            <a:ext cx="148416" cy="148416"/>
            <a:chOff x="5485448" y="4993640"/>
            <a:chExt cx="243840" cy="243840"/>
          </a:xfrm>
        </p:grpSpPr>
        <p:sp>
          <p:nvSpPr>
            <p:cNvPr id="289" name="椭圆 153"/>
            <p:cNvSpPr/>
            <p:nvPr/>
          </p:nvSpPr>
          <p:spPr bwMode="gray">
            <a:xfrm>
              <a:off x="5485448" y="4993640"/>
              <a:ext cx="243840" cy="243840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90" name="椭圆 154"/>
            <p:cNvSpPr/>
            <p:nvPr/>
          </p:nvSpPr>
          <p:spPr bwMode="gray">
            <a:xfrm>
              <a:off x="5517602" y="5025794"/>
              <a:ext cx="179532" cy="17953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96" name="矩形 203"/>
          <p:cNvSpPr/>
          <p:nvPr/>
        </p:nvSpPr>
        <p:spPr bwMode="gray">
          <a:xfrm>
            <a:off x="6670428" y="3197840"/>
            <a:ext cx="2084952" cy="28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zh-CN" altLang="en-US" sz="1400" b="1" i="1" dirty="0" smtClean="0">
                <a:solidFill>
                  <a:srgbClr val="046A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（山东）自由贸易试验区济南片区</a:t>
            </a:r>
            <a:endParaRPr lang="en-US" sz="1400" b="1" i="1" dirty="0" smtClean="0">
              <a:solidFill>
                <a:srgbClr val="046A3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80" name="肘形连接符 279"/>
          <p:cNvCxnSpPr>
            <a:endCxn id="296" idx="1"/>
          </p:cNvCxnSpPr>
          <p:nvPr/>
        </p:nvCxnSpPr>
        <p:spPr>
          <a:xfrm flipV="1">
            <a:off x="4958702" y="3341840"/>
            <a:ext cx="1711726" cy="437998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>
            <a:stCxn id="372" idx="3"/>
            <a:endCxn id="481" idx="0"/>
          </p:cNvCxnSpPr>
          <p:nvPr/>
        </p:nvCxnSpPr>
        <p:spPr>
          <a:xfrm>
            <a:off x="5888717" y="4928287"/>
            <a:ext cx="5634" cy="6844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肘形连接符 461"/>
          <p:cNvCxnSpPr>
            <a:stCxn id="381" idx="7"/>
            <a:endCxn id="496" idx="3"/>
          </p:cNvCxnSpPr>
          <p:nvPr/>
        </p:nvCxnSpPr>
        <p:spPr>
          <a:xfrm rot="16200000" flipH="1" flipV="1">
            <a:off x="2788616" y="3660991"/>
            <a:ext cx="643976" cy="1330251"/>
          </a:xfrm>
          <a:prstGeom prst="bentConnector4">
            <a:avLst>
              <a:gd name="adj1" fmla="val 38004"/>
              <a:gd name="adj2" fmla="val 75341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肘形连接符 472"/>
          <p:cNvCxnSpPr>
            <a:stCxn id="378" idx="4"/>
            <a:endCxn id="495" idx="3"/>
          </p:cNvCxnSpPr>
          <p:nvPr/>
        </p:nvCxnSpPr>
        <p:spPr>
          <a:xfrm rot="5400000">
            <a:off x="3271778" y="3151209"/>
            <a:ext cx="200155" cy="1272658"/>
          </a:xfrm>
          <a:prstGeom prst="bentConnector2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747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9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="" xmlns:thm15="http://schemas.microsoft.com/office/thememl/2012/main" name="default PPT template_161209.potx" id="{1B78930C-C073-4C92-9086-733C1CBA0273}" vid="{C17F13D8-E357-4C45-B40E-7AE0A4804989}"/>
    </a:ext>
  </a:extLst>
</a:theme>
</file>

<file path=ppt/theme/theme2.xml><?xml version="1.0" encoding="utf-8"?>
<a:theme xmlns:a="http://schemas.openxmlformats.org/drawingml/2006/main" name="SC-all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">
      <a:majorFont>
        <a:latin typeface="Verdana"/>
        <a:ea typeface="华文细黑"/>
        <a:cs typeface=""/>
      </a:majorFont>
      <a:minorFont>
        <a:latin typeface="Verdana"/>
        <a:ea typeface="华文细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="" xmlns:thm15="http://schemas.microsoft.com/office/thememl/2012/main" name="default PPT template_161209.potx" id="{1B78930C-C073-4C92-9086-733C1CBA0273}" vid="{A692AE43-4B6B-4EEA-B36B-F886CC697904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0483</TotalTime>
  <Words>59</Words>
  <Application>Microsoft Office PowerPoint</Application>
  <PresentationFormat>全屏显示(4:3)</PresentationFormat>
  <Paragraphs>16</Paragraphs>
  <Slides>1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4" baseType="lpstr">
      <vt:lpstr>TC-all</vt:lpstr>
      <vt:lpstr>SC-all</vt:lpstr>
      <vt:lpstr>think-cell 幻灯片</vt:lpstr>
      <vt:lpstr>自贸试验区济南片区和济南市省级以上开发区分布示意图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实证研究发现，浙江省三四线城市的产业集群发展路径具有其独特的区域性特点</dc:title>
  <dc:creator>Tina Tian Chen</dc:creator>
  <cp:lastModifiedBy>User</cp:lastModifiedBy>
  <cp:revision>3390</cp:revision>
  <cp:lastPrinted>2020-10-13T08:38:25Z</cp:lastPrinted>
  <dcterms:created xsi:type="dcterms:W3CDTF">2017-06-01T08:03:01Z</dcterms:created>
  <dcterms:modified xsi:type="dcterms:W3CDTF">2020-10-19T06:38:46Z</dcterms:modified>
</cp:coreProperties>
</file>